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notesSlides/notesSlide4.xml" ContentType="application/vnd.openxmlformats-officedocument.presentationml.notesSlide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notesSlides/notesSlide7.xml" ContentType="application/vnd.openxmlformats-officedocument.presentationml.notesSlide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notesSlides/notesSlide8.xml" ContentType="application/vnd.openxmlformats-officedocument.presentationml.notesSlide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notesSlides/notesSlide9.xml" ContentType="application/vnd.openxmlformats-officedocument.presentationml.notesSlide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9"/>
  </p:notesMasterIdLst>
  <p:handoutMasterIdLst>
    <p:handoutMasterId r:id="rId20"/>
  </p:handoutMasterIdLst>
  <p:sldIdLst>
    <p:sldId id="3878" r:id="rId3"/>
    <p:sldId id="3892" r:id="rId4"/>
    <p:sldId id="3702" r:id="rId5"/>
    <p:sldId id="3891" r:id="rId6"/>
    <p:sldId id="3701" r:id="rId7"/>
    <p:sldId id="3894" r:id="rId8"/>
    <p:sldId id="3888" r:id="rId9"/>
    <p:sldId id="3864" r:id="rId10"/>
    <p:sldId id="3879" r:id="rId11"/>
    <p:sldId id="3880" r:id="rId12"/>
    <p:sldId id="3890" r:id="rId13"/>
    <p:sldId id="3893" r:id="rId14"/>
    <p:sldId id="3881" r:id="rId15"/>
    <p:sldId id="3882" r:id="rId16"/>
    <p:sldId id="3883" r:id="rId17"/>
    <p:sldId id="3886" r:id="rId18"/>
  </p:sldIdLst>
  <p:sldSz cx="12192000" cy="6858000"/>
  <p:notesSz cx="7102475" cy="938847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A700"/>
    <a:srgbClr val="1F40E6"/>
    <a:srgbClr val="E6E6E6"/>
    <a:srgbClr val="D0D0D0"/>
    <a:srgbClr val="051C2C"/>
    <a:srgbClr val="000000"/>
    <a:srgbClr val="7F7F7F"/>
    <a:srgbClr val="AFC3FF"/>
    <a:srgbClr val="0D3171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394" autoAdjust="0"/>
    <p:restoredTop sz="96296" autoAdjust="0"/>
  </p:normalViewPr>
  <p:slideViewPr>
    <p:cSldViewPr snapToGrid="0" snapToObjects="1">
      <p:cViewPr>
        <p:scale>
          <a:sx n="104" d="100"/>
          <a:sy n="104" d="100"/>
        </p:scale>
        <p:origin x="144" y="4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7 Januar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eveel teks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42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Depth random </a:t>
            </a:r>
            <a:r>
              <a:rPr lang="en-US" dirty="0" err="1"/>
              <a:t>maken</a:t>
            </a:r>
            <a:endParaRPr lang="en-US" dirty="0"/>
          </a:p>
          <a:p>
            <a:pPr eaLnBrk="1" hangingPunct="1"/>
            <a:r>
              <a:rPr lang="en-US" dirty="0"/>
              <a:t>Random </a:t>
            </a:r>
            <a:r>
              <a:rPr lang="en-US" dirty="0" err="1"/>
              <a:t>prunen</a:t>
            </a:r>
            <a:r>
              <a:rPr lang="en-US" dirty="0"/>
              <a:t> </a:t>
            </a:r>
            <a:r>
              <a:rPr lang="en-US" dirty="0" err="1"/>
              <a:t>tussen</a:t>
            </a:r>
            <a:r>
              <a:rPr lang="en-US" dirty="0"/>
              <a:t> 2 </a:t>
            </a:r>
            <a:r>
              <a:rPr lang="en-US" dirty="0" err="1"/>
              <a:t>dezelfde</a:t>
            </a:r>
            <a:r>
              <a:rPr lang="en-US" dirty="0"/>
              <a:t> </a:t>
            </a:r>
            <a:r>
              <a:rPr lang="en-US" dirty="0" err="1"/>
              <a:t>borden</a:t>
            </a:r>
            <a:endParaRPr lang="en-US" dirty="0"/>
          </a:p>
          <a:p>
            <a:pPr eaLnBrk="1" hangingPunct="1"/>
            <a:r>
              <a:rPr lang="en-US" dirty="0"/>
              <a:t>Minder </a:t>
            </a:r>
            <a:r>
              <a:rPr lang="en-US" dirty="0" err="1"/>
              <a:t>tekst</a:t>
            </a:r>
            <a:endParaRPr lang="en-US" dirty="0"/>
          </a:p>
          <a:p>
            <a:pPr eaLnBrk="1" hangingPunct="1"/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naar</a:t>
            </a:r>
            <a:r>
              <a:rPr lang="en-US" dirty="0"/>
              <a:t> </a:t>
            </a:r>
            <a:r>
              <a:rPr lang="en-US" dirty="0" err="1"/>
              <a:t>vore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wat we </a:t>
            </a:r>
            <a:r>
              <a:rPr lang="en-US" dirty="0" err="1"/>
              <a:t>gaan</a:t>
            </a:r>
            <a:r>
              <a:rPr lang="en-US" dirty="0"/>
              <a:t> </a:t>
            </a:r>
            <a:r>
              <a:rPr lang="en-US" dirty="0" err="1"/>
              <a:t>do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848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Heel kort!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iet nodig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40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Geef </a:t>
            </a:r>
            <a:r>
              <a:rPr lang="nl-NL" dirty="0" err="1"/>
              <a:t>avarages</a:t>
            </a:r>
            <a:r>
              <a:rPr lang="nl-NL" dirty="0"/>
              <a:t> van de </a:t>
            </a:r>
            <a:r>
              <a:rPr lang="nl-NL" dirty="0" err="1"/>
              <a:t>alforithmes</a:t>
            </a:r>
            <a:r>
              <a:rPr lang="nl-NL" dirty="0"/>
              <a:t> weer! 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8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8337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85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jdens runnen prat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646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7 January 2020</a:t>
            </a:fld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1613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/>
              <a:t>Random 1000 x </a:t>
            </a:r>
            <a:r>
              <a:rPr lang="en-US" dirty="0" err="1"/>
              <a:t>runnen</a:t>
            </a:r>
            <a:endParaRPr lang="en-US" dirty="0"/>
          </a:p>
          <a:p>
            <a:pPr eaLnBrk="1" hangingPunct="1"/>
            <a:r>
              <a:rPr lang="en-US" dirty="0" err="1"/>
              <a:t>Pstat</a:t>
            </a:r>
            <a:endParaRPr lang="en-US" dirty="0"/>
          </a:p>
          <a:p>
            <a:pPr eaLnBrk="1" hangingPunct="1"/>
            <a:r>
              <a:rPr lang="en-US" dirty="0"/>
              <a:t>Python3 time </a:t>
            </a:r>
            <a:r>
              <a:rPr lang="en-US" dirty="0" err="1"/>
              <a:t>main.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4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27468B-38F6-4DC2-A767-D83AAE7DF58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62850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62851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9CD1-55F8-4209-B9CE-C2FAB55DAB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2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628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r>
              <a:rPr lang="en-US" dirty="0" err="1"/>
              <a:t>Betere</a:t>
            </a:r>
            <a:r>
              <a:rPr lang="en-US" dirty="0"/>
              <a:t> </a:t>
            </a:r>
            <a:r>
              <a:rPr lang="en-US" dirty="0" err="1"/>
              <a:t>vergelijking</a:t>
            </a:r>
            <a:r>
              <a:rPr lang="en-US" dirty="0"/>
              <a:t>? </a:t>
            </a:r>
            <a:r>
              <a:rPr lang="en-US" dirty="0" err="1"/>
              <a:t>Bedenken</a:t>
            </a:r>
            <a:r>
              <a:rPr lang="en-US" dirty="0"/>
              <a:t> hoe</a:t>
            </a:r>
          </a:p>
          <a:p>
            <a:pPr eaLnBrk="1" hangingPunct="1"/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borden</a:t>
            </a:r>
            <a:r>
              <a:rPr lang="en-US" dirty="0"/>
              <a:t> </a:t>
            </a:r>
            <a:r>
              <a:rPr lang="en-US" dirty="0" err="1"/>
              <a:t>laten</a:t>
            </a:r>
            <a:r>
              <a:rPr lang="en-US" dirty="0"/>
              <a:t> </a:t>
            </a:r>
            <a:r>
              <a:rPr lang="en-US" dirty="0" err="1"/>
              <a:t>zien</a:t>
            </a:r>
            <a:r>
              <a:rPr lang="en-US" dirty="0"/>
              <a:t>,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alleen</a:t>
            </a:r>
            <a:r>
              <a:rPr lang="en-US" dirty="0"/>
              <a:t> 6x6!</a:t>
            </a:r>
          </a:p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639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image" Target="../media/image4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oleObject" Target="../embeddings/oleObject7.bin"/><Relationship Id="rId2" Type="http://schemas.openxmlformats.org/officeDocument/2006/relationships/tags" Target="../tags/tag9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image" Target="../media/image2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5.xml"/><Relationship Id="rId11" Type="http://schemas.openxmlformats.org/officeDocument/2006/relationships/image" Target="../media/image6.png"/><Relationship Id="rId5" Type="http://schemas.openxmlformats.org/officeDocument/2006/relationships/tags" Target="../tags/tag16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image" Target="../media/image1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2.xml"/><Relationship Id="rId4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image" Target="../media/image1.emf"/><Relationship Id="rId2" Type="http://schemas.openxmlformats.org/officeDocument/2006/relationships/tags" Target="../tags/tag19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image" Target="../media/image1.emf"/><Relationship Id="rId2" Type="http://schemas.openxmlformats.org/officeDocument/2006/relationships/tags" Target="../tags/tag206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5" Type="http://schemas.openxmlformats.org/officeDocument/2006/relationships/tags" Target="../tags/tag20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image" Target="../media/image1.emf"/><Relationship Id="rId2" Type="http://schemas.openxmlformats.org/officeDocument/2006/relationships/tags" Target="../tags/tag230.xml"/><Relationship Id="rId16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5" Type="http://schemas.openxmlformats.org/officeDocument/2006/relationships/tags" Target="../tags/tag23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8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17" Type="http://schemas.openxmlformats.org/officeDocument/2006/relationships/image" Target="../media/image7.emf"/><Relationship Id="rId2" Type="http://schemas.openxmlformats.org/officeDocument/2006/relationships/tags" Target="../tags/tag243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tags" Target="../tags/tag25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.emf"/><Relationship Id="rId2" Type="http://schemas.openxmlformats.org/officeDocument/2006/relationships/tags" Target="../tags/tag5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image" Target="../media/image1.emf"/><Relationship Id="rId2" Type="http://schemas.openxmlformats.org/officeDocument/2006/relationships/tags" Target="../tags/tag7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image" Target="../media/image1.emf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oleObject" Target="../embeddings/oleObject6.bin"/><Relationship Id="rId2" Type="http://schemas.openxmlformats.org/officeDocument/2006/relationships/tags" Target="../tags/tag83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4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81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28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6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53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Image" hidden="1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 hidden="1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 hidden="1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49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7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2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32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9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77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 hidden="1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5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7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4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1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1936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9"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300983" y="3275405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71.xml"/><Relationship Id="rId7" Type="http://schemas.openxmlformats.org/officeDocument/2006/relationships/image" Target="../media/image7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7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3.xml"/><Relationship Id="rId13" Type="http://schemas.openxmlformats.org/officeDocument/2006/relationships/tags" Target="../tags/tag368.xml"/><Relationship Id="rId18" Type="http://schemas.openxmlformats.org/officeDocument/2006/relationships/tags" Target="../tags/tag373.xml"/><Relationship Id="rId3" Type="http://schemas.openxmlformats.org/officeDocument/2006/relationships/tags" Target="../tags/tag358.xml"/><Relationship Id="rId21" Type="http://schemas.openxmlformats.org/officeDocument/2006/relationships/oleObject" Target="../embeddings/oleObject24.bin"/><Relationship Id="rId7" Type="http://schemas.openxmlformats.org/officeDocument/2006/relationships/tags" Target="../tags/tag362.xml"/><Relationship Id="rId12" Type="http://schemas.openxmlformats.org/officeDocument/2006/relationships/tags" Target="../tags/tag367.xml"/><Relationship Id="rId17" Type="http://schemas.openxmlformats.org/officeDocument/2006/relationships/tags" Target="../tags/tag372.xml"/><Relationship Id="rId2" Type="http://schemas.openxmlformats.org/officeDocument/2006/relationships/tags" Target="../tags/tag357.xml"/><Relationship Id="rId16" Type="http://schemas.openxmlformats.org/officeDocument/2006/relationships/tags" Target="../tags/tag371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61.xml"/><Relationship Id="rId11" Type="http://schemas.openxmlformats.org/officeDocument/2006/relationships/tags" Target="../tags/tag366.xml"/><Relationship Id="rId5" Type="http://schemas.openxmlformats.org/officeDocument/2006/relationships/tags" Target="../tags/tag360.xml"/><Relationship Id="rId15" Type="http://schemas.openxmlformats.org/officeDocument/2006/relationships/tags" Target="../tags/tag370.xml"/><Relationship Id="rId10" Type="http://schemas.openxmlformats.org/officeDocument/2006/relationships/tags" Target="../tags/tag365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59.xml"/><Relationship Id="rId9" Type="http://schemas.openxmlformats.org/officeDocument/2006/relationships/tags" Target="../tags/tag364.xml"/><Relationship Id="rId14" Type="http://schemas.openxmlformats.org/officeDocument/2006/relationships/tags" Target="../tags/tag369.xml"/><Relationship Id="rId22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microsoft.com/office/2007/relationships/media" Target="../media/media2.mp4"/><Relationship Id="rId7" Type="http://schemas.openxmlformats.org/officeDocument/2006/relationships/image" Target="../media/image28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mp4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80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12" Type="http://schemas.openxmlformats.org/officeDocument/2006/relationships/tags" Target="../tags/tag384.xml"/><Relationship Id="rId2" Type="http://schemas.openxmlformats.org/officeDocument/2006/relationships/tags" Target="../tags/tag374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26.vml"/><Relationship Id="rId6" Type="http://schemas.openxmlformats.org/officeDocument/2006/relationships/tags" Target="../tags/tag378.xml"/><Relationship Id="rId11" Type="http://schemas.openxmlformats.org/officeDocument/2006/relationships/tags" Target="../tags/tag383.xml"/><Relationship Id="rId5" Type="http://schemas.openxmlformats.org/officeDocument/2006/relationships/tags" Target="../tags/tag377.xml"/><Relationship Id="rId15" Type="http://schemas.openxmlformats.org/officeDocument/2006/relationships/image" Target="../media/image7.emf"/><Relationship Id="rId10" Type="http://schemas.openxmlformats.org/officeDocument/2006/relationships/tags" Target="../tags/tag382.xml"/><Relationship Id="rId4" Type="http://schemas.openxmlformats.org/officeDocument/2006/relationships/tags" Target="../tags/tag376.xml"/><Relationship Id="rId9" Type="http://schemas.openxmlformats.org/officeDocument/2006/relationships/tags" Target="../tags/tag381.xml"/><Relationship Id="rId1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8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89.xml"/><Relationship Id="rId11" Type="http://schemas.openxmlformats.org/officeDocument/2006/relationships/image" Target="../media/image31.png"/><Relationship Id="rId5" Type="http://schemas.openxmlformats.org/officeDocument/2006/relationships/tags" Target="../tags/tag388.xml"/><Relationship Id="rId10" Type="http://schemas.openxmlformats.org/officeDocument/2006/relationships/image" Target="../media/image7.emf"/><Relationship Id="rId4" Type="http://schemas.openxmlformats.org/officeDocument/2006/relationships/tags" Target="../tags/tag387.xml"/><Relationship Id="rId9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39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90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94.xml"/><Relationship Id="rId5" Type="http://schemas.openxmlformats.org/officeDocument/2006/relationships/tags" Target="../tags/tag393.xml"/><Relationship Id="rId10" Type="http://schemas.openxmlformats.org/officeDocument/2006/relationships/image" Target="../media/image7.emf"/><Relationship Id="rId4" Type="http://schemas.openxmlformats.org/officeDocument/2006/relationships/tags" Target="../tags/tag392.xml"/><Relationship Id="rId9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396.xml"/><Relationship Id="rId7" Type="http://schemas.openxmlformats.org/officeDocument/2006/relationships/notesSlide" Target="../notesSlides/notesSlide9.xml"/><Relationship Id="rId12" Type="http://schemas.openxmlformats.org/officeDocument/2006/relationships/image" Target="../media/image34.png"/><Relationship Id="rId2" Type="http://schemas.openxmlformats.org/officeDocument/2006/relationships/tags" Target="../tags/tag395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3.png"/><Relationship Id="rId5" Type="http://schemas.openxmlformats.org/officeDocument/2006/relationships/tags" Target="../tags/tag398.xml"/><Relationship Id="rId10" Type="http://schemas.openxmlformats.org/officeDocument/2006/relationships/image" Target="../media/image7.emf"/><Relationship Id="rId4" Type="http://schemas.openxmlformats.org/officeDocument/2006/relationships/tags" Target="../tags/tag397.xml"/><Relationship Id="rId9" Type="http://schemas.openxmlformats.org/officeDocument/2006/relationships/oleObject" Target="../embeddings/oleObject2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400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99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6.svg"/><Relationship Id="rId5" Type="http://schemas.openxmlformats.org/officeDocument/2006/relationships/tags" Target="../tags/tag402.xml"/><Relationship Id="rId10" Type="http://schemas.openxmlformats.org/officeDocument/2006/relationships/image" Target="../media/image35.png"/><Relationship Id="rId4" Type="http://schemas.openxmlformats.org/officeDocument/2006/relationships/tags" Target="../tags/tag401.xml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png"/><Relationship Id="rId3" Type="http://schemas.openxmlformats.org/officeDocument/2006/relationships/tags" Target="../tags/tag274.xml"/><Relationship Id="rId21" Type="http://schemas.openxmlformats.org/officeDocument/2006/relationships/image" Target="../media/image12.png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image" Target="../media/image8.jpeg"/><Relationship Id="rId2" Type="http://schemas.openxmlformats.org/officeDocument/2006/relationships/tags" Target="../tags/tag273.xml"/><Relationship Id="rId16" Type="http://schemas.openxmlformats.org/officeDocument/2006/relationships/image" Target="../media/image7.emf"/><Relationship Id="rId20" Type="http://schemas.openxmlformats.org/officeDocument/2006/relationships/image" Target="../media/image11.svg"/><Relationship Id="rId1" Type="http://schemas.openxmlformats.org/officeDocument/2006/relationships/vmlDrawing" Target="../drawings/vmlDrawing19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81.xml"/><Relationship Id="rId19" Type="http://schemas.openxmlformats.org/officeDocument/2006/relationships/image" Target="../media/image10.pn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8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png"/><Relationship Id="rId4" Type="http://schemas.openxmlformats.org/officeDocument/2006/relationships/tags" Target="../tags/tag286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8.xml"/><Relationship Id="rId7" Type="http://schemas.openxmlformats.org/officeDocument/2006/relationships/image" Target="../media/image7.emf"/><Relationship Id="rId2" Type="http://schemas.openxmlformats.org/officeDocument/2006/relationships/tags" Target="../tags/tag28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3" Type="http://schemas.openxmlformats.org/officeDocument/2006/relationships/tags" Target="../tags/tag291.xml"/><Relationship Id="rId21" Type="http://schemas.openxmlformats.org/officeDocument/2006/relationships/tags" Target="../tags/tag309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image" Target="../media/image7.emf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oleObject" Target="../embeddings/oleObject22.bin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22.xml"/><Relationship Id="rId18" Type="http://schemas.openxmlformats.org/officeDocument/2006/relationships/tags" Target="../tags/tag327.xml"/><Relationship Id="rId26" Type="http://schemas.openxmlformats.org/officeDocument/2006/relationships/tags" Target="../tags/tag335.xml"/><Relationship Id="rId3" Type="http://schemas.openxmlformats.org/officeDocument/2006/relationships/tags" Target="../tags/tag312.xml"/><Relationship Id="rId21" Type="http://schemas.openxmlformats.org/officeDocument/2006/relationships/tags" Target="../tags/tag330.xml"/><Relationship Id="rId7" Type="http://schemas.openxmlformats.org/officeDocument/2006/relationships/tags" Target="../tags/tag316.xml"/><Relationship Id="rId12" Type="http://schemas.openxmlformats.org/officeDocument/2006/relationships/tags" Target="../tags/tag321.xml"/><Relationship Id="rId17" Type="http://schemas.openxmlformats.org/officeDocument/2006/relationships/tags" Target="../tags/tag326.xml"/><Relationship Id="rId25" Type="http://schemas.openxmlformats.org/officeDocument/2006/relationships/tags" Target="../tags/tag334.xml"/><Relationship Id="rId33" Type="http://schemas.openxmlformats.org/officeDocument/2006/relationships/image" Target="../media/image19.svg"/><Relationship Id="rId2" Type="http://schemas.openxmlformats.org/officeDocument/2006/relationships/tags" Target="../tags/tag311.xml"/><Relationship Id="rId16" Type="http://schemas.openxmlformats.org/officeDocument/2006/relationships/tags" Target="../tags/tag325.xml"/><Relationship Id="rId20" Type="http://schemas.openxmlformats.org/officeDocument/2006/relationships/tags" Target="../tags/tag329.xml"/><Relationship Id="rId29" Type="http://schemas.openxmlformats.org/officeDocument/2006/relationships/tags" Target="../tags/tag338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tags" Target="../tags/tag320.xml"/><Relationship Id="rId24" Type="http://schemas.openxmlformats.org/officeDocument/2006/relationships/tags" Target="../tags/tag333.xml"/><Relationship Id="rId32" Type="http://schemas.openxmlformats.org/officeDocument/2006/relationships/image" Target="../media/image18.png"/><Relationship Id="rId5" Type="http://schemas.openxmlformats.org/officeDocument/2006/relationships/tags" Target="../tags/tag314.xml"/><Relationship Id="rId15" Type="http://schemas.openxmlformats.org/officeDocument/2006/relationships/tags" Target="../tags/tag324.xml"/><Relationship Id="rId23" Type="http://schemas.openxmlformats.org/officeDocument/2006/relationships/tags" Target="../tags/tag332.xml"/><Relationship Id="rId28" Type="http://schemas.openxmlformats.org/officeDocument/2006/relationships/tags" Target="../tags/tag337.xml"/><Relationship Id="rId10" Type="http://schemas.openxmlformats.org/officeDocument/2006/relationships/tags" Target="../tags/tag319.xml"/><Relationship Id="rId19" Type="http://schemas.openxmlformats.org/officeDocument/2006/relationships/tags" Target="../tags/tag328.xml"/><Relationship Id="rId31" Type="http://schemas.openxmlformats.org/officeDocument/2006/relationships/notesSlide" Target="../notesSlides/notesSlide4.xml"/><Relationship Id="rId4" Type="http://schemas.openxmlformats.org/officeDocument/2006/relationships/tags" Target="../tags/tag313.xml"/><Relationship Id="rId9" Type="http://schemas.openxmlformats.org/officeDocument/2006/relationships/tags" Target="../tags/tag318.xml"/><Relationship Id="rId14" Type="http://schemas.openxmlformats.org/officeDocument/2006/relationships/tags" Target="../tags/tag323.xml"/><Relationship Id="rId22" Type="http://schemas.openxmlformats.org/officeDocument/2006/relationships/tags" Target="../tags/tag331.xml"/><Relationship Id="rId27" Type="http://schemas.openxmlformats.org/officeDocument/2006/relationships/tags" Target="../tags/tag336.xml"/><Relationship Id="rId30" Type="http://schemas.openxmlformats.org/officeDocument/2006/relationships/slideLayout" Target="../slideLayouts/slideLayout2.xml"/><Relationship Id="rId8" Type="http://schemas.openxmlformats.org/officeDocument/2006/relationships/tags" Target="../tags/tag3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13" Type="http://schemas.openxmlformats.org/officeDocument/2006/relationships/image" Target="../media/image7.emf"/><Relationship Id="rId18" Type="http://schemas.openxmlformats.org/officeDocument/2006/relationships/image" Target="../media/image24.png"/><Relationship Id="rId3" Type="http://schemas.openxmlformats.org/officeDocument/2006/relationships/tags" Target="../tags/tag340.xml"/><Relationship Id="rId21" Type="http://schemas.openxmlformats.org/officeDocument/2006/relationships/image" Target="../media/image27.svg"/><Relationship Id="rId7" Type="http://schemas.openxmlformats.org/officeDocument/2006/relationships/tags" Target="../tags/tag344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3.svg"/><Relationship Id="rId2" Type="http://schemas.openxmlformats.org/officeDocument/2006/relationships/tags" Target="../tags/tag339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vmlDrawing" Target="../drawings/vmlDrawing23.vml"/><Relationship Id="rId6" Type="http://schemas.openxmlformats.org/officeDocument/2006/relationships/tags" Target="../tags/tag34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42.xml"/><Relationship Id="rId15" Type="http://schemas.openxmlformats.org/officeDocument/2006/relationships/image" Target="../media/image21.svg"/><Relationship Id="rId10" Type="http://schemas.openxmlformats.org/officeDocument/2006/relationships/tags" Target="../tags/tag347.xml"/><Relationship Id="rId19" Type="http://schemas.openxmlformats.org/officeDocument/2006/relationships/image" Target="../media/image25.svg"/><Relationship Id="rId4" Type="http://schemas.openxmlformats.org/officeDocument/2006/relationships/tags" Target="../tags/tag341.xml"/><Relationship Id="rId9" Type="http://schemas.openxmlformats.org/officeDocument/2006/relationships/tags" Target="../tags/tag346.xml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4.xml"/><Relationship Id="rId13" Type="http://schemas.openxmlformats.org/officeDocument/2006/relationships/image" Target="../media/image7.emf"/><Relationship Id="rId18" Type="http://schemas.openxmlformats.org/officeDocument/2006/relationships/image" Target="../media/image24.png"/><Relationship Id="rId3" Type="http://schemas.openxmlformats.org/officeDocument/2006/relationships/tags" Target="../tags/tag349.xml"/><Relationship Id="rId21" Type="http://schemas.openxmlformats.org/officeDocument/2006/relationships/image" Target="../media/image27.svg"/><Relationship Id="rId7" Type="http://schemas.openxmlformats.org/officeDocument/2006/relationships/tags" Target="../tags/tag353.xml"/><Relationship Id="rId12" Type="http://schemas.openxmlformats.org/officeDocument/2006/relationships/oleObject" Target="../embeddings/oleObject23.bin"/><Relationship Id="rId17" Type="http://schemas.openxmlformats.org/officeDocument/2006/relationships/image" Target="../media/image23.svg"/><Relationship Id="rId2" Type="http://schemas.openxmlformats.org/officeDocument/2006/relationships/tags" Target="../tags/tag348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vmlDrawing" Target="../drawings/vmlDrawing24.vml"/><Relationship Id="rId6" Type="http://schemas.openxmlformats.org/officeDocument/2006/relationships/tags" Target="../tags/tag35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51.xml"/><Relationship Id="rId15" Type="http://schemas.openxmlformats.org/officeDocument/2006/relationships/image" Target="../media/image21.svg"/><Relationship Id="rId10" Type="http://schemas.openxmlformats.org/officeDocument/2006/relationships/tags" Target="../tags/tag356.xml"/><Relationship Id="rId19" Type="http://schemas.openxmlformats.org/officeDocument/2006/relationships/image" Target="../media/image25.svg"/><Relationship Id="rId4" Type="http://schemas.openxmlformats.org/officeDocument/2006/relationships/tags" Target="../tags/tag350.xml"/><Relationship Id="rId9" Type="http://schemas.openxmlformats.org/officeDocument/2006/relationships/tags" Target="../tags/tag355.xml"/><Relationship Id="rId1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3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8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/>
              <a:t>Rushhour</a:t>
            </a:r>
            <a:endParaRPr lang="en-US" dirty="0"/>
          </a:p>
        </p:txBody>
      </p:sp>
      <p:pic>
        <p:nvPicPr>
          <p:cNvPr id="7" name="Picture 307" descr="https://theorie.mprog.nl/course/cases/Rush%20Hour/Rushhour6x6_1.jpg">
            <a:extLst>
              <a:ext uri="{FF2B5EF4-FFF2-40B4-BE49-F238E27FC236}">
                <a16:creationId xmlns:a16="http://schemas.microsoft.com/office/drawing/2014/main" id="{50B22BD6-DD88-49C1-A705-FBD4EA1D1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920" y="1489393"/>
            <a:ext cx="4533900" cy="481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15">
            <a:extLst>
              <a:ext uri="{FF2B5EF4-FFF2-40B4-BE49-F238E27FC236}">
                <a16:creationId xmlns:a16="http://schemas.microsoft.com/office/drawing/2014/main" id="{C4C4037A-8105-A34D-974E-4796E4E2733C}"/>
              </a:ext>
            </a:extLst>
          </p:cNvPr>
          <p:cNvSpPr txBox="1"/>
          <p:nvPr/>
        </p:nvSpPr>
        <p:spPr>
          <a:xfrm>
            <a:off x="573689" y="5231825"/>
            <a:ext cx="2514600" cy="11541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Bart </a:t>
            </a:r>
            <a:r>
              <a:rPr lang="en-US" sz="1300" dirty="0" err="1">
                <a:latin typeface="Euphemia" panose="020B0503040102020104" pitchFamily="34" charset="0"/>
              </a:rPr>
              <a:t>Zeeuw</a:t>
            </a:r>
            <a:r>
              <a:rPr lang="en-US" sz="1300" dirty="0">
                <a:latin typeface="Euphemia" panose="020B0503040102020104" pitchFamily="34" charset="0"/>
              </a:rPr>
              <a:t> van der </a:t>
            </a:r>
            <a:r>
              <a:rPr lang="en-US" sz="1300" dirty="0" err="1">
                <a:latin typeface="Euphemia" panose="020B0503040102020104" pitchFamily="34" charset="0"/>
              </a:rPr>
              <a:t>Laa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Paloma van </a:t>
            </a:r>
            <a:r>
              <a:rPr lang="en-US" sz="1300" dirty="0" err="1">
                <a:latin typeface="Euphemia" panose="020B0503040102020104" pitchFamily="34" charset="0"/>
              </a:rPr>
              <a:t>Moerkerken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Floor </a:t>
            </a:r>
            <a:r>
              <a:rPr lang="en-US" sz="1300" dirty="0" err="1">
                <a:latin typeface="Euphemia" panose="020B0503040102020104" pitchFamily="34" charset="0"/>
              </a:rPr>
              <a:t>Berkhout</a:t>
            </a: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endParaRPr lang="en-US" sz="1300" dirty="0">
              <a:latin typeface="Euphemia" panose="020B0503040102020104" pitchFamily="34" charset="0"/>
            </a:endParaRPr>
          </a:p>
          <a:p>
            <a:pPr marL="3175" lvl="1" indent="0">
              <a:buNone/>
            </a:pPr>
            <a:r>
              <a:rPr lang="en-US" sz="1300" dirty="0">
                <a:latin typeface="Euphemia" panose="020B0503040102020104" pitchFamily="34" charset="0"/>
              </a:rPr>
              <a:t>Commit4life</a:t>
            </a:r>
          </a:p>
        </p:txBody>
      </p:sp>
    </p:spTree>
    <p:extLst>
      <p:ext uri="{BB962C8B-B14F-4D97-AF65-F5344CB8AC3E}">
        <p14:creationId xmlns:p14="http://schemas.microsoft.com/office/powerpoint/2010/main" val="4251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1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0960F38-886A-4B67-A89F-0B6E28C1BCBA}"/>
              </a:ext>
            </a:extLst>
          </p:cNvPr>
          <p:cNvSpPr txBox="1"/>
          <p:nvPr/>
        </p:nvSpPr>
        <p:spPr>
          <a:xfrm>
            <a:off x="6610373" y="2047540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0</a:t>
            </a: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  <a:cs typeface="+mn-cs"/>
              </a:rPr>
              <a:t>: A-1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F3B34520-13F1-433B-B2B6-0FF5427F518D}"/>
              </a:ext>
            </a:extLst>
          </p:cNvPr>
          <p:cNvSpPr txBox="1"/>
          <p:nvPr/>
        </p:nvSpPr>
        <p:spPr>
          <a:xfrm>
            <a:off x="6607595" y="2579715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1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4DB988C-D38C-46BA-AE97-DBD554C84230}"/>
              </a:ext>
            </a:extLst>
          </p:cNvPr>
          <p:cNvSpPr txBox="1"/>
          <p:nvPr/>
        </p:nvSpPr>
        <p:spPr>
          <a:xfrm>
            <a:off x="6486429" y="5092701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>
                <a:latin typeface="Euphemia" panose="020B0503040102020104" pitchFamily="34" charset="0"/>
              </a:rPr>
              <a:t>0</a:t>
            </a:r>
            <a:r>
              <a:rPr lang="en-US" sz="1000" dirty="0">
                <a:latin typeface="Euphemia" panose="020B0503040102020104" pitchFamily="34" charset="0"/>
              </a:rPr>
              <a:t>: B-1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9BF6507-9DCA-4F17-BFFA-99762B4E19DE}"/>
              </a:ext>
            </a:extLst>
          </p:cNvPr>
          <p:cNvSpPr txBox="1"/>
          <p:nvPr/>
        </p:nvSpPr>
        <p:spPr>
          <a:xfrm>
            <a:off x="6486429" y="5670387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Euphemia" panose="020B0503040102020104" pitchFamily="34" charset="0"/>
              </a:rPr>
              <a:t>1: A-1</a:t>
            </a: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Breadth-first &amp; depth-first</a:t>
            </a:r>
          </a:p>
        </p:txBody>
      </p:sp>
      <p:sp>
        <p:nvSpPr>
          <p:cNvPr id="79" name="Graphic 14">
            <a:extLst>
              <a:ext uri="{FF2B5EF4-FFF2-40B4-BE49-F238E27FC236}">
                <a16:creationId xmlns:a16="http://schemas.microsoft.com/office/drawing/2014/main" id="{6A3D48FB-1411-483E-B881-0774FFDDD439}"/>
              </a:ext>
            </a:extLst>
          </p:cNvPr>
          <p:cNvSpPr>
            <a:spLocks noChangeAspect="1"/>
          </p:cNvSpPr>
          <p:nvPr/>
        </p:nvSpPr>
        <p:spPr>
          <a:xfrm>
            <a:off x="6943214" y="1857151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0" name="Graphic 14">
            <a:extLst>
              <a:ext uri="{FF2B5EF4-FFF2-40B4-BE49-F238E27FC236}">
                <a16:creationId xmlns:a16="http://schemas.microsoft.com/office/drawing/2014/main" id="{D30368B3-1111-4CF6-BAA8-D31A4911ABC7}"/>
              </a:ext>
            </a:extLst>
          </p:cNvPr>
          <p:cNvSpPr>
            <a:spLocks noChangeAspect="1"/>
          </p:cNvSpPr>
          <p:nvPr/>
        </p:nvSpPr>
        <p:spPr>
          <a:xfrm>
            <a:off x="6943214" y="4947239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3EA973B-4931-4A42-9472-EB0AD77F4722}"/>
              </a:ext>
            </a:extLst>
          </p:cNvPr>
          <p:cNvCxnSpPr>
            <a:cxnSpLocks/>
          </p:cNvCxnSpPr>
          <p:nvPr/>
        </p:nvCxnSpPr>
        <p:spPr>
          <a:xfrm>
            <a:off x="3859094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raphic 14">
            <a:extLst>
              <a:ext uri="{FF2B5EF4-FFF2-40B4-BE49-F238E27FC236}">
                <a16:creationId xmlns:a16="http://schemas.microsoft.com/office/drawing/2014/main" id="{9ACE0CC1-B2D2-4FC8-8047-8977D20AD610}"/>
              </a:ext>
            </a:extLst>
          </p:cNvPr>
          <p:cNvSpPr>
            <a:spLocks noChangeAspect="1"/>
          </p:cNvSpPr>
          <p:nvPr/>
        </p:nvSpPr>
        <p:spPr>
          <a:xfrm>
            <a:off x="8311107" y="2384903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3" name="Graphic 14">
            <a:extLst>
              <a:ext uri="{FF2B5EF4-FFF2-40B4-BE49-F238E27FC236}">
                <a16:creationId xmlns:a16="http://schemas.microsoft.com/office/drawing/2014/main" id="{55371AB9-83B8-43D4-B06C-0E3F4640EFD1}"/>
              </a:ext>
            </a:extLst>
          </p:cNvPr>
          <p:cNvSpPr>
            <a:spLocks noChangeAspect="1"/>
          </p:cNvSpPr>
          <p:nvPr/>
        </p:nvSpPr>
        <p:spPr>
          <a:xfrm>
            <a:off x="8311107" y="4421615"/>
            <a:ext cx="1363483" cy="1051528"/>
          </a:xfrm>
          <a:custGeom>
            <a:avLst/>
            <a:gdLst>
              <a:gd name="connsiteX0" fmla="*/ 8885715 w 8882670"/>
              <a:gd name="connsiteY0" fmla="*/ 6854879 h 6850388"/>
              <a:gd name="connsiteX1" fmla="*/ 1796172 w 8882670"/>
              <a:gd name="connsiteY1" fmla="*/ 6854879 h 6850388"/>
              <a:gd name="connsiteX2" fmla="*/ 0 w 8882670"/>
              <a:gd name="connsiteY2" fmla="*/ 3427478 h 6850388"/>
              <a:gd name="connsiteX3" fmla="*/ 1796172 w 8882670"/>
              <a:gd name="connsiteY3" fmla="*/ 0 h 6850388"/>
              <a:gd name="connsiteX4" fmla="*/ 8885715 w 8882670"/>
              <a:gd name="connsiteY4" fmla="*/ 0 h 685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82670" h="6850388">
                <a:moveTo>
                  <a:pt x="8885715" y="6854879"/>
                </a:moveTo>
                <a:lnTo>
                  <a:pt x="1796172" y="6854879"/>
                </a:lnTo>
                <a:lnTo>
                  <a:pt x="0" y="3427478"/>
                </a:lnTo>
                <a:lnTo>
                  <a:pt x="1796172" y="0"/>
                </a:lnTo>
                <a:lnTo>
                  <a:pt x="8885715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F908A09-17D8-4167-8E8D-EF05FC87E79B}"/>
              </a:ext>
            </a:extLst>
          </p:cNvPr>
          <p:cNvSpPr>
            <a:spLocks noChangeAspect="1"/>
          </p:cNvSpPr>
          <p:nvPr/>
        </p:nvSpPr>
        <p:spPr>
          <a:xfrm>
            <a:off x="4511618" y="2382083"/>
            <a:ext cx="2423523" cy="3090672"/>
          </a:xfrm>
          <a:custGeom>
            <a:avLst/>
            <a:gdLst>
              <a:gd name="connsiteX0" fmla="*/ 2404789 w 2403000"/>
              <a:gd name="connsiteY0" fmla="*/ 3064939 h 3064500"/>
              <a:gd name="connsiteX1" fmla="*/ 801056 w 2403000"/>
              <a:gd name="connsiteY1" fmla="*/ 3064939 h 3064500"/>
              <a:gd name="connsiteX2" fmla="*/ 0 w 2403000"/>
              <a:gd name="connsiteY2" fmla="*/ 1532486 h 3064500"/>
              <a:gd name="connsiteX3" fmla="*/ 801056 w 2403000"/>
              <a:gd name="connsiteY3" fmla="*/ 0 h 3064500"/>
              <a:gd name="connsiteX4" fmla="*/ 2404789 w 2403000"/>
              <a:gd name="connsiteY4" fmla="*/ 0 h 306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3000" h="3064500">
                <a:moveTo>
                  <a:pt x="2404789" y="3064939"/>
                </a:moveTo>
                <a:lnTo>
                  <a:pt x="801056" y="3064939"/>
                </a:lnTo>
                <a:lnTo>
                  <a:pt x="0" y="1532486"/>
                </a:lnTo>
                <a:lnTo>
                  <a:pt x="801056" y="0"/>
                </a:lnTo>
                <a:lnTo>
                  <a:pt x="2404789" y="0"/>
                </a:lnTo>
              </a:path>
            </a:pathLst>
          </a:custGeom>
          <a:noFill/>
          <a:ln w="6350" cap="sq">
            <a:solidFill>
              <a:srgbClr val="7F7F7F"/>
            </a:solidFill>
            <a:prstDash val="solid"/>
            <a:miter/>
          </a:ln>
        </p:spPr>
        <p:txBody>
          <a:bodyPr rtlCol="0" anchor="ctr"/>
          <a:lstStyle/>
          <a:p>
            <a:endParaRPr lang="en-US" sz="11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9F5691-9DC8-48FA-936B-C6D13BDC779E}"/>
              </a:ext>
            </a:extLst>
          </p:cNvPr>
          <p:cNvSpPr txBox="1"/>
          <p:nvPr/>
        </p:nvSpPr>
        <p:spPr>
          <a:xfrm>
            <a:off x="554735" y="3060143"/>
            <a:ext cx="2514600" cy="30777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Algorithm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Take the node highest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Identify all possible mov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reate the corresponding nodes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ompare the new nodes with nodes earlier up the tre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Check if the game is won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Shut of nodes that represent a board state that was achieved before</a:t>
            </a:r>
          </a:p>
          <a:p>
            <a:pPr marL="231775" lvl="1" indent="-228600">
              <a:buFont typeface="+mj-lt"/>
              <a:buAutoNum type="arabicPeriod"/>
            </a:pPr>
            <a:r>
              <a:rPr lang="en-US" sz="1300" dirty="0">
                <a:latin typeface="Euphemia" panose="020B0503040102020104" pitchFamily="34" charset="0"/>
              </a:rPr>
              <a:t>Repeat</a:t>
            </a:r>
          </a:p>
          <a:p>
            <a:pPr lvl="1"/>
            <a:endParaRPr lang="en-US" sz="1100" dirty="0">
              <a:latin typeface="Euphemia" panose="020B0503040102020104" pitchFamily="34" charset="0"/>
            </a:endParaRPr>
          </a:p>
        </p:txBody>
      </p:sp>
      <p:sp>
        <p:nvSpPr>
          <p:cNvPr id="97" name="TrackerNumBlue 7">
            <a:extLst>
              <a:ext uri="{FF2B5EF4-FFF2-40B4-BE49-F238E27FC236}">
                <a16:creationId xmlns:a16="http://schemas.microsoft.com/office/drawing/2014/main" id="{93BEFD07-4176-4B60-8805-0A14AF08EDC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9424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4087EBB-B7BC-46EE-B624-EE77D9826B99}"/>
              </a:ext>
            </a:extLst>
          </p:cNvPr>
          <p:cNvCxnSpPr/>
          <p:nvPr/>
        </p:nvCxnSpPr>
        <p:spPr>
          <a:xfrm>
            <a:off x="3459480" y="193138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neBasicDefault 16">
            <a:extLst>
              <a:ext uri="{FF2B5EF4-FFF2-40B4-BE49-F238E27FC236}">
                <a16:creationId xmlns:a16="http://schemas.microsoft.com/office/drawing/2014/main" id="{5B567202-AEB6-436A-B3CF-15734F72DD8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65988" y="1600200"/>
            <a:ext cx="250334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neBasicDefault 16">
            <a:extLst>
              <a:ext uri="{FF2B5EF4-FFF2-40B4-BE49-F238E27FC236}">
                <a16:creationId xmlns:a16="http://schemas.microsoft.com/office/drawing/2014/main" id="{160F70C4-612A-4952-97DA-9AC20725877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943350" y="1600200"/>
            <a:ext cx="769391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Arrow: Chevron 100">
            <a:extLst>
              <a:ext uri="{FF2B5EF4-FFF2-40B4-BE49-F238E27FC236}">
                <a16:creationId xmlns:a16="http://schemas.microsoft.com/office/drawing/2014/main" id="{F280A2FA-95A3-4711-8099-D0003F883C28}"/>
              </a:ext>
            </a:extLst>
          </p:cNvPr>
          <p:cNvSpPr/>
          <p:nvPr/>
        </p:nvSpPr>
        <p:spPr>
          <a:xfrm>
            <a:off x="3275838" y="130302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81540D10-C1C1-46AB-B756-4FE262499328}"/>
              </a:ext>
            </a:extLst>
          </p:cNvPr>
          <p:cNvSpPr txBox="1"/>
          <p:nvPr/>
        </p:nvSpPr>
        <p:spPr>
          <a:xfrm>
            <a:off x="3943350" y="1396424"/>
            <a:ext cx="2447722" cy="16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latin typeface="Euphemia" panose="020B0503040102020104" pitchFamily="34" charset="0"/>
                <a:cs typeface="+mn-cs"/>
              </a:rPr>
              <a:t>Visualization</a:t>
            </a:r>
            <a:endParaRPr lang="en-US" sz="1100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7840F745-A24A-4049-B3C6-12D4A7DA8119}"/>
              </a:ext>
            </a:extLst>
          </p:cNvPr>
          <p:cNvSpPr/>
          <p:nvPr/>
        </p:nvSpPr>
        <p:spPr>
          <a:xfrm>
            <a:off x="3270988" y="138716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100" dirty="0" err="1">
              <a:solidFill>
                <a:schemeClr val="bg1"/>
              </a:solidFill>
            </a:endParaRPr>
          </a:p>
        </p:txBody>
      </p:sp>
      <p:sp>
        <p:nvSpPr>
          <p:cNvPr id="108" name="TrackerNumBlue 7">
            <a:extLst>
              <a:ext uri="{FF2B5EF4-FFF2-40B4-BE49-F238E27FC236}">
                <a16:creationId xmlns:a16="http://schemas.microsoft.com/office/drawing/2014/main" id="{D29B6976-668B-4BC4-9151-2663492394EA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67211" y="530374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2</a:t>
            </a:r>
          </a:p>
        </p:txBody>
      </p:sp>
      <p:sp>
        <p:nvSpPr>
          <p:cNvPr id="113" name="TrackerNumBlue 7">
            <a:extLst>
              <a:ext uri="{FF2B5EF4-FFF2-40B4-BE49-F238E27FC236}">
                <a16:creationId xmlns:a16="http://schemas.microsoft.com/office/drawing/2014/main" id="{F235AF7F-78F1-41F2-8692-B1A20B16927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167211" y="224046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D5EF64F-9703-412E-9973-4195F2950030}"/>
              </a:ext>
            </a:extLst>
          </p:cNvPr>
          <p:cNvSpPr txBox="1"/>
          <p:nvPr/>
        </p:nvSpPr>
        <p:spPr>
          <a:xfrm>
            <a:off x="4587810" y="2831734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0</a:t>
            </a:r>
            <a:r>
              <a:rPr lang="en-US" sz="1000" dirty="0"/>
              <a:t>: A-1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90D6A21-22A3-402D-B3DB-88E00726C7C2}"/>
              </a:ext>
            </a:extLst>
          </p:cNvPr>
          <p:cNvSpPr txBox="1"/>
          <p:nvPr/>
        </p:nvSpPr>
        <p:spPr>
          <a:xfrm>
            <a:off x="554735" y="1729355"/>
            <a:ext cx="2514600" cy="13542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en-US" sz="1300" b="1" dirty="0">
                <a:latin typeface="Euphemia" panose="020B0503040102020104" pitchFamily="34" charset="0"/>
              </a:rPr>
              <a:t>Description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Nodes </a:t>
            </a:r>
            <a:r>
              <a:rPr lang="en-US" sz="1300" dirty="0">
                <a:latin typeface="Euphemia" panose="020B0503040102020104" pitchFamily="34" charset="0"/>
              </a:rPr>
              <a:t>represent board states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Branches</a:t>
            </a:r>
            <a:r>
              <a:rPr lang="en-US" sz="1300" dirty="0">
                <a:latin typeface="Euphemia" panose="020B0503040102020104" pitchFamily="34" charset="0"/>
              </a:rPr>
              <a:t> represent moves </a:t>
            </a:r>
          </a:p>
          <a:p>
            <a:pPr lvl="1"/>
            <a:r>
              <a:rPr lang="en-US" sz="1300" b="1" dirty="0">
                <a:latin typeface="Euphemia" panose="020B0503040102020104" pitchFamily="34" charset="0"/>
              </a:rPr>
              <a:t>Level </a:t>
            </a:r>
            <a:r>
              <a:rPr lang="en-US" sz="1300" dirty="0">
                <a:latin typeface="Euphemia" panose="020B0503040102020104" pitchFamily="34" charset="0"/>
              </a:rPr>
              <a:t>represents number of moves</a:t>
            </a:r>
            <a:endParaRPr lang="en-US" sz="1300" b="1" dirty="0">
              <a:latin typeface="Euphemia" panose="020B0503040102020104" pitchFamily="34" charset="0"/>
            </a:endParaRPr>
          </a:p>
          <a:p>
            <a:pPr lvl="1"/>
            <a:endParaRPr lang="en-US" sz="1300" dirty="0">
              <a:latin typeface="Euphemia" panose="020B0503040102020104" pitchFamily="34" charset="0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485B1CD-3C23-448B-AA88-CA27052F8D92}"/>
              </a:ext>
            </a:extLst>
          </p:cNvPr>
          <p:cNvCxnSpPr>
            <a:cxnSpLocks/>
          </p:cNvCxnSpPr>
          <p:nvPr/>
        </p:nvCxnSpPr>
        <p:spPr>
          <a:xfrm>
            <a:off x="4513223" y="3927419"/>
            <a:ext cx="654129" cy="0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rackerNumBlue 7">
            <a:extLst>
              <a:ext uri="{FF2B5EF4-FFF2-40B4-BE49-F238E27FC236}">
                <a16:creationId xmlns:a16="http://schemas.microsoft.com/office/drawing/2014/main" id="{8DC48BED-CE48-42B4-9A15-490C24968D7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2832" y="378774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F4B9E81-EBB2-488C-AECD-EE97B4C089C5}"/>
              </a:ext>
            </a:extLst>
          </p:cNvPr>
          <p:cNvSpPr txBox="1"/>
          <p:nvPr/>
        </p:nvSpPr>
        <p:spPr>
          <a:xfrm>
            <a:off x="4587810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-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AD5C58C-652F-4D4C-8177-9A5CFA19D110}"/>
              </a:ext>
            </a:extLst>
          </p:cNvPr>
          <p:cNvSpPr txBox="1"/>
          <p:nvPr/>
        </p:nvSpPr>
        <p:spPr>
          <a:xfrm>
            <a:off x="4565998" y="4988289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2</a:t>
            </a:r>
            <a:r>
              <a:rPr lang="en-US" sz="1000" dirty="0"/>
              <a:t>: K+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3CF7E4B-92C6-48E5-8758-C4602FA5C5E4}"/>
              </a:ext>
            </a:extLst>
          </p:cNvPr>
          <p:cNvSpPr txBox="1"/>
          <p:nvPr/>
        </p:nvSpPr>
        <p:spPr>
          <a:xfrm>
            <a:off x="6308849" y="3759193"/>
            <a:ext cx="478780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b="1" dirty="0"/>
              <a:t>1</a:t>
            </a:r>
            <a:r>
              <a:rPr lang="en-US" sz="1000" dirty="0"/>
              <a:t>: B+1</a:t>
            </a:r>
          </a:p>
        </p:txBody>
      </p:sp>
      <p:sp>
        <p:nvSpPr>
          <p:cNvPr id="147" name="Legend1">
            <a:extLst>
              <a:ext uri="{FF2B5EF4-FFF2-40B4-BE49-F238E27FC236}">
                <a16:creationId xmlns:a16="http://schemas.microsoft.com/office/drawing/2014/main" id="{B6848864-E0F6-423C-8197-13969C4CD498}"/>
              </a:ext>
            </a:extLst>
          </p:cNvPr>
          <p:cNvSpPr txBox="1"/>
          <p:nvPr/>
        </p:nvSpPr>
        <p:spPr>
          <a:xfrm>
            <a:off x="8945887" y="389114"/>
            <a:ext cx="1016304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New board state</a:t>
            </a:r>
          </a:p>
        </p:txBody>
      </p:sp>
      <p:sp>
        <p:nvSpPr>
          <p:cNvPr id="150" name="Legend2">
            <a:extLst>
              <a:ext uri="{FF2B5EF4-FFF2-40B4-BE49-F238E27FC236}">
                <a16:creationId xmlns:a16="http://schemas.microsoft.com/office/drawing/2014/main" id="{D12D3967-8B8F-4A93-BAD2-3E23277DBA4E}"/>
              </a:ext>
            </a:extLst>
          </p:cNvPr>
          <p:cNvSpPr txBox="1"/>
          <p:nvPr/>
        </p:nvSpPr>
        <p:spPr>
          <a:xfrm>
            <a:off x="8945887" y="768612"/>
            <a:ext cx="2149627" cy="153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Euphemia" panose="020B0503040102020104" pitchFamily="34" charset="0"/>
              </a:rPr>
              <a:t>Similar board state (shut off node)</a:t>
            </a:r>
          </a:p>
        </p:txBody>
      </p:sp>
      <p:sp>
        <p:nvSpPr>
          <p:cNvPr id="157" name="TrackerNumBlue 7">
            <a:extLst>
              <a:ext uri="{FF2B5EF4-FFF2-40B4-BE49-F238E27FC236}">
                <a16:creationId xmlns:a16="http://schemas.microsoft.com/office/drawing/2014/main" id="{BF674A74-31EE-462C-A2DA-20350D19D37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540581" y="335676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0</a:t>
            </a:r>
          </a:p>
        </p:txBody>
      </p:sp>
      <p:sp>
        <p:nvSpPr>
          <p:cNvPr id="158" name="TrackerNumBlue 7">
            <a:extLst>
              <a:ext uri="{FF2B5EF4-FFF2-40B4-BE49-F238E27FC236}">
                <a16:creationId xmlns:a16="http://schemas.microsoft.com/office/drawing/2014/main" id="{60D849D9-E161-457B-93AA-8F446AF5492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540581" y="690136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1.1.0</a:t>
            </a:r>
          </a:p>
        </p:txBody>
      </p:sp>
      <p:sp>
        <p:nvSpPr>
          <p:cNvPr id="159" name="TrackerNumBlue 7">
            <a:extLst>
              <a:ext uri="{FF2B5EF4-FFF2-40B4-BE49-F238E27FC236}">
                <a16:creationId xmlns:a16="http://schemas.microsoft.com/office/drawing/2014/main" id="{B69A0736-7A74-462F-96BA-B01C5437B0C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783592" y="377282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accent1"/>
                </a:solidFill>
              </a:rPr>
              <a:t>1.1.0</a:t>
            </a: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D1F2D549-2317-48A2-A780-3CFF63B56D2D}"/>
              </a:ext>
            </a:extLst>
          </p:cNvPr>
          <p:cNvCxnSpPr>
            <a:cxnSpLocks/>
            <a:endCxn id="159" idx="2"/>
          </p:cNvCxnSpPr>
          <p:nvPr/>
        </p:nvCxnSpPr>
        <p:spPr>
          <a:xfrm flipV="1">
            <a:off x="5322172" y="3912495"/>
            <a:ext cx="1461420" cy="14924"/>
          </a:xfrm>
          <a:prstGeom prst="line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rackerNumBlue 7">
            <a:extLst>
              <a:ext uri="{FF2B5EF4-FFF2-40B4-BE49-F238E27FC236}">
                <a16:creationId xmlns:a16="http://schemas.microsoft.com/office/drawing/2014/main" id="{D6FE793A-41D8-4C5A-82F4-3AC0C2632032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089153" y="480756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</a:rPr>
              <a:t>1.2.0</a:t>
            </a:r>
          </a:p>
        </p:txBody>
      </p:sp>
      <p:sp>
        <p:nvSpPr>
          <p:cNvPr id="166" name="TrackerNumBlue 7">
            <a:extLst>
              <a:ext uri="{FF2B5EF4-FFF2-40B4-BE49-F238E27FC236}">
                <a16:creationId xmlns:a16="http://schemas.microsoft.com/office/drawing/2014/main" id="{99A732CB-3622-41CF-8F3A-E9A631A0DD6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062932" y="581138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1.2.1</a:t>
            </a:r>
          </a:p>
        </p:txBody>
      </p:sp>
      <p:sp>
        <p:nvSpPr>
          <p:cNvPr id="167" name="TrackerNumBlue 7">
            <a:extLst>
              <a:ext uri="{FF2B5EF4-FFF2-40B4-BE49-F238E27FC236}">
                <a16:creationId xmlns:a16="http://schemas.microsoft.com/office/drawing/2014/main" id="{9D2EC98C-F145-4FBD-9DE5-E955D1A8A52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049812" y="1705475"/>
            <a:ext cx="279340" cy="279340"/>
          </a:xfrm>
          <a:prstGeom prst="ellipse">
            <a:avLst/>
          </a:prstGeom>
          <a:solidFill>
            <a:schemeClr val="bg1"/>
          </a:solidFill>
          <a:ln w="6350" cap="sq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accent1"/>
                </a:solidFill>
                <a:latin typeface="Euphemia" panose="020B0503040102020104" pitchFamily="34" charset="0"/>
              </a:rPr>
              <a:t>0.0.0</a:t>
            </a:r>
          </a:p>
        </p:txBody>
      </p:sp>
      <p:sp>
        <p:nvSpPr>
          <p:cNvPr id="168" name="TrackerNumBlue 7">
            <a:extLst>
              <a:ext uri="{FF2B5EF4-FFF2-40B4-BE49-F238E27FC236}">
                <a16:creationId xmlns:a16="http://schemas.microsoft.com/office/drawing/2014/main" id="{C5F33C7F-A96E-43DC-A90D-786D2C8A6636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049812" y="2790335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bg1"/>
                </a:solidFill>
                <a:latin typeface="Euphemia" panose="020B0503040102020104" pitchFamily="34" charset="0"/>
              </a:rPr>
              <a:t>0.1.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E09BB3E-98CE-437A-82C9-6FB1053F7474}"/>
              </a:ext>
            </a:extLst>
          </p:cNvPr>
          <p:cNvSpPr/>
          <p:nvPr/>
        </p:nvSpPr>
        <p:spPr>
          <a:xfrm>
            <a:off x="7364368" y="1634700"/>
            <a:ext cx="2860112" cy="470895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5000"/>
                </a:schemeClr>
              </a:gs>
              <a:gs pos="74000">
                <a:schemeClr val="tx2"/>
              </a:gs>
              <a:gs pos="83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TextBox 7">
            <a:extLst>
              <a:ext uri="{FF2B5EF4-FFF2-40B4-BE49-F238E27FC236}">
                <a16:creationId xmlns:a16="http://schemas.microsoft.com/office/drawing/2014/main" id="{41271C7A-685F-8D43-835A-2DDBFD107940}"/>
              </a:ext>
            </a:extLst>
          </p:cNvPr>
          <p:cNvSpPr txBox="1"/>
          <p:nvPr/>
        </p:nvSpPr>
        <p:spPr>
          <a:xfrm>
            <a:off x="9530447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5783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7ABC2E-8DD3-954F-9224-166627758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oard 6 x 6, game 1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97BADD3-1C00-2F40-B24B-B7248ED8C8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output_Tny7oL.mp4" descr="output_Tny7oL.mp4">
            <a:hlinkClick r:id="" action="ppaction://media"/>
            <a:extLst>
              <a:ext uri="{FF2B5EF4-FFF2-40B4-BE49-F238E27FC236}">
                <a16:creationId xmlns:a16="http://schemas.microsoft.com/office/drawing/2014/main" id="{2AF49D21-C837-D949-8C1F-152C5AE283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7241" t="8714" r="17523"/>
          <a:stretch/>
        </p:blipFill>
        <p:spPr>
          <a:xfrm>
            <a:off x="6942640" y="1834019"/>
            <a:ext cx="4346918" cy="4562035"/>
          </a:xfrm>
          <a:prstGeom prst="rect">
            <a:avLst/>
          </a:prstGeom>
        </p:spPr>
      </p:pic>
      <p:sp>
        <p:nvSpPr>
          <p:cNvPr id="8" name="Ondertitel 7">
            <a:extLst>
              <a:ext uri="{FF2B5EF4-FFF2-40B4-BE49-F238E27FC236}">
                <a16:creationId xmlns:a16="http://schemas.microsoft.com/office/drawing/2014/main" id="{2504A8D1-AF53-0E44-8F79-E31FEA737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0230" y="1557020"/>
            <a:ext cx="1104611" cy="276999"/>
          </a:xfrm>
        </p:spPr>
        <p:txBody>
          <a:bodyPr/>
          <a:lstStyle/>
          <a:p>
            <a:r>
              <a:rPr lang="nl-NL" dirty="0">
                <a:latin typeface="Euphemia" panose="020B0503040102020104" pitchFamily="34" charset="0"/>
              </a:rPr>
              <a:t>Depth-first</a:t>
            </a:r>
          </a:p>
        </p:txBody>
      </p:sp>
      <p:pic>
        <p:nvPicPr>
          <p:cNvPr id="9" name="output_099hvH.mp4" descr="output_099hvH.mp4">
            <a:hlinkClick r:id="" action="ppaction://media"/>
            <a:extLst>
              <a:ext uri="{FF2B5EF4-FFF2-40B4-BE49-F238E27FC236}">
                <a16:creationId xmlns:a16="http://schemas.microsoft.com/office/drawing/2014/main" id="{77D29A8D-EDE8-534D-B9B4-A3123548732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8"/>
          <a:srcRect l="17319" t="10848" r="18969"/>
          <a:stretch/>
        </p:blipFill>
        <p:spPr>
          <a:xfrm>
            <a:off x="1189305" y="1944224"/>
            <a:ext cx="4241908" cy="4451829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380182A5-80A2-D646-9C6D-A8D2EE23BF98}"/>
              </a:ext>
            </a:extLst>
          </p:cNvPr>
          <p:cNvSpPr txBox="1"/>
          <p:nvPr/>
        </p:nvSpPr>
        <p:spPr>
          <a:xfrm>
            <a:off x="6231988" y="647113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14" name="Ondertitel 7">
            <a:extLst>
              <a:ext uri="{FF2B5EF4-FFF2-40B4-BE49-F238E27FC236}">
                <a16:creationId xmlns:a16="http://schemas.microsoft.com/office/drawing/2014/main" id="{A5335FF7-88E6-D847-B485-B1E218C6A47D}"/>
              </a:ext>
            </a:extLst>
          </p:cNvPr>
          <p:cNvSpPr txBox="1">
            <a:spLocks/>
          </p:cNvSpPr>
          <p:nvPr/>
        </p:nvSpPr>
        <p:spPr>
          <a:xfrm>
            <a:off x="8565844" y="1568594"/>
            <a:ext cx="1451851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nl-NL" dirty="0" err="1">
                <a:latin typeface="Euphemia" panose="020B0503040102020104" pitchFamily="34" charset="0"/>
              </a:rPr>
              <a:t>Breadth</a:t>
            </a:r>
            <a:r>
              <a:rPr lang="nl-NL" dirty="0">
                <a:latin typeface="Euphemia" panose="020B0503040102020104" pitchFamily="34" charset="0"/>
              </a:rPr>
              <a:t>-first</a:t>
            </a:r>
          </a:p>
        </p:txBody>
      </p:sp>
    </p:spTree>
    <p:extLst>
      <p:ext uri="{BB962C8B-B14F-4D97-AF65-F5344CB8AC3E}">
        <p14:creationId xmlns:p14="http://schemas.microsoft.com/office/powerpoint/2010/main" val="124826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46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3"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Not storing nodes saves memory but uses extra processing tim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3404CB3-A4C2-461C-A68C-435ECBB81C58}"/>
              </a:ext>
            </a:extLst>
          </p:cNvPr>
          <p:cNvSpPr txBox="1">
            <a:spLocks/>
          </p:cNvSpPr>
          <p:nvPr/>
        </p:nvSpPr>
        <p:spPr>
          <a:xfrm>
            <a:off x="554736" y="4205354"/>
            <a:ext cx="1485522" cy="1858095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 err="1">
                <a:solidFill>
                  <a:schemeClr val="lt1"/>
                </a:solidFill>
              </a:rPr>
              <a:t>Resuls</a:t>
            </a:r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695686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tores obje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950520"/>
            <a:ext cx="1926731" cy="107952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Computes objects every tim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572A8D3-7586-4EFA-9487-5A9D70E3E0D3}"/>
              </a:ext>
            </a:extLst>
          </p:cNvPr>
          <p:cNvGrpSpPr/>
          <p:nvPr/>
        </p:nvGrpSpPr>
        <p:grpSpPr>
          <a:xfrm>
            <a:off x="4265135" y="1364305"/>
            <a:ext cx="6277153" cy="277232"/>
            <a:chOff x="3648278" y="1364305"/>
            <a:chExt cx="5233572" cy="2311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0A03288-F4E0-4BEF-AB17-407321C4B39F}"/>
                </a:ext>
              </a:extLst>
            </p:cNvPr>
            <p:cNvSpPr txBox="1"/>
            <p:nvPr/>
          </p:nvSpPr>
          <p:spPr>
            <a:xfrm>
              <a:off x="364827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Standard</a:t>
              </a:r>
              <a:endParaRPr lang="en-US" sz="1200" dirty="0"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6434128" y="1364305"/>
              <a:ext cx="2447722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Memory saver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643412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LineBasicDefault 16">
              <a:extLst>
                <a:ext uri="{FF2B5EF4-FFF2-40B4-BE49-F238E27FC236}">
                  <a16:creationId xmlns:a16="http://schemas.microsoft.com/office/drawing/2014/main" id="{C1A6A69D-D9AF-4B3E-8D77-006DFFC119C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>
            <a:xfrm>
              <a:off x="3648278" y="1595447"/>
              <a:ext cx="2410991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702245"/>
            <a:ext cx="1485522" cy="232780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Working princip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30C0504-44A3-4A99-9DD3-A74E5C67DC71}"/>
              </a:ext>
            </a:extLst>
          </p:cNvPr>
          <p:cNvSpPr txBox="1">
            <a:spLocks/>
          </p:cNvSpPr>
          <p:nvPr/>
        </p:nvSpPr>
        <p:spPr>
          <a:xfrm>
            <a:off x="2136090" y="4224622"/>
            <a:ext cx="1926731" cy="1838827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Plots</a:t>
            </a:r>
          </a:p>
        </p:txBody>
      </p:sp>
      <p:cxnSp>
        <p:nvCxnSpPr>
          <p:cNvPr id="32" name="LineBasicDefault 16">
            <a:extLst>
              <a:ext uri="{FF2B5EF4-FFF2-40B4-BE49-F238E27FC236}">
                <a16:creationId xmlns:a16="http://schemas.microsoft.com/office/drawing/2014/main" id="{212D98E2-446A-43C8-A5EF-895016B7084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062820" y="2854951"/>
            <a:ext cx="6479468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56034" y="4127333"/>
            <a:ext cx="9878274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heckmark 60">
            <a:extLst>
              <a:ext uri="{FF2B5EF4-FFF2-40B4-BE49-F238E27FC236}">
                <a16:creationId xmlns:a16="http://schemas.microsoft.com/office/drawing/2014/main" id="{7FA93562-0ED1-4BE5-970B-DA78D50EE0D6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553520" y="3210767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43017C99-55F0-41B2-B5A1-5B64BD8B917B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346090" y="2028549"/>
            <a:ext cx="551210" cy="572360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5343827" y="321552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5" name="X 57">
            <a:extLst>
              <a:ext uri="{FF2B5EF4-FFF2-40B4-BE49-F238E27FC236}">
                <a16:creationId xmlns:a16="http://schemas.microsoft.com/office/drawing/2014/main" id="{D22CA29A-FE8D-4435-A339-8FEE8C7D1E1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551257" y="1970762"/>
            <a:ext cx="555735" cy="554964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12D67FA-5780-4A23-9ECD-687D2F59C67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18936" y="4224622"/>
            <a:ext cx="2167236" cy="167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139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test</a:t>
            </a:r>
          </a:p>
        </p:txBody>
      </p: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5551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516124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490BA738-D4CF-5E48-BF6A-F51E4203E03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8127" t="8410" r="8699" b="4410"/>
          <a:stretch/>
        </p:blipFill>
        <p:spPr>
          <a:xfrm>
            <a:off x="337625" y="1862975"/>
            <a:ext cx="7216721" cy="4523757"/>
          </a:xfrm>
          <a:prstGeom prst="rect">
            <a:avLst/>
          </a:prstGeom>
        </p:spPr>
      </p:pic>
      <p:sp>
        <p:nvSpPr>
          <p:cNvPr id="36" name="TextBox 7">
            <a:extLst>
              <a:ext uri="{FF2B5EF4-FFF2-40B4-BE49-F238E27FC236}">
                <a16:creationId xmlns:a16="http://schemas.microsoft.com/office/drawing/2014/main" id="{F0CA991D-8E85-BC44-B249-606E27E1B209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/>
              <a:t>To compare the lower and upper bound with the random advanced algorithm, breadth-first and depth-first.</a:t>
            </a:r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37" name="TextBox 46">
            <a:extLst>
              <a:ext uri="{FF2B5EF4-FFF2-40B4-BE49-F238E27FC236}">
                <a16:creationId xmlns:a16="http://schemas.microsoft.com/office/drawing/2014/main" id="{A2547DEF-4F05-584C-A124-D6E3E623A802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Board 6x6 game 1</a:t>
            </a:r>
            <a:endParaRPr lang="en-US" dirty="0">
              <a:cs typeface="+mn-cs"/>
            </a:endParaRPr>
          </a:p>
        </p:txBody>
      </p:sp>
      <p:sp>
        <p:nvSpPr>
          <p:cNvPr id="38" name="Arrow: Chevron 33">
            <a:extLst>
              <a:ext uri="{FF2B5EF4-FFF2-40B4-BE49-F238E27FC236}">
                <a16:creationId xmlns:a16="http://schemas.microsoft.com/office/drawing/2014/main" id="{7C49D249-B153-2747-A55E-1FDA1DDB6EDB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47">
            <a:extLst>
              <a:ext uri="{FF2B5EF4-FFF2-40B4-BE49-F238E27FC236}">
                <a16:creationId xmlns:a16="http://schemas.microsoft.com/office/drawing/2014/main" id="{2433767E-AC60-B442-AECC-6DF5EC86FFAD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cs typeface="+mn-cs"/>
              </a:rPr>
              <a:t>Take-aways</a:t>
            </a: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659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1A86B0-F0CC-4F5B-8BA4-A38A43592A29}"/>
              </a:ext>
            </a:extLst>
          </p:cNvPr>
          <p:cNvSpPr/>
          <p:nvPr/>
        </p:nvSpPr>
        <p:spPr>
          <a:xfrm>
            <a:off x="7355786" y="1686111"/>
            <a:ext cx="1230443" cy="33661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8B3850A2-5C2A-9543-9D4E-372DC16DD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29640"/>
              </p:ext>
            </p:extLst>
          </p:nvPr>
        </p:nvGraphicFramePr>
        <p:xfrm>
          <a:off x="554736" y="1996720"/>
          <a:ext cx="2503346" cy="4368673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03346">
                  <a:extLst>
                    <a:ext uri="{9D8B030D-6E8A-4147-A177-3AD203B41FA5}">
                      <a16:colId xmlns:a16="http://schemas.microsoft.com/office/drawing/2014/main" val="3997698673"/>
                    </a:ext>
                  </a:extLst>
                </a:gridCol>
              </a:tblGrid>
              <a:tr h="95920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958423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Random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lgorithm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073262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Advanced random </a:t>
                      </a:r>
                    </a:p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00x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27221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651987"/>
                  </a:ext>
                </a:extLst>
              </a:tr>
              <a:tr h="852367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-first</a:t>
                      </a:r>
                    </a:p>
                  </a:txBody>
                  <a:tcPr marT="41564" marB="41564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2041919"/>
                  </a:ext>
                </a:extLst>
              </a:tr>
            </a:tbl>
          </a:graphicData>
        </a:graphic>
      </p:graphicFrame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32244ED1-B832-8F4D-8C95-A18D08AB16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928599"/>
              </p:ext>
            </p:extLst>
          </p:nvPr>
        </p:nvGraphicFramePr>
        <p:xfrm>
          <a:off x="3291785" y="1997061"/>
          <a:ext cx="8128002" cy="436867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33534403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4943636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982334398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205106617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1728576136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3931276372"/>
                    </a:ext>
                  </a:extLst>
                </a:gridCol>
              </a:tblGrid>
              <a:tr h="985155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Moves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Time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Lower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200" dirty="0">
                          <a:latin typeface="Euphemia" panose="020B0503040102020104" pitchFamily="34" charset="0"/>
                        </a:rPr>
                        <a:t>, in case of.</a:t>
                      </a:r>
                    </a:p>
                    <a:p>
                      <a:pPr algn="ctr"/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Average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2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moves</a:t>
                      </a:r>
                    </a:p>
                  </a:txBody>
                  <a:tcPr marT="41564" marB="4156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Upper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</a:t>
                      </a:r>
                      <a:r>
                        <a:rPr lang="nl-NL" sz="1700" dirty="0" err="1">
                          <a:latin typeface="Euphemia" panose="020B0503040102020104" pitchFamily="34" charset="0"/>
                        </a:rPr>
                        <a:t>bound</a:t>
                      </a:r>
                      <a:r>
                        <a:rPr lang="nl-NL" sz="1700" dirty="0">
                          <a:latin typeface="Euphemia" panose="020B0503040102020104" pitchFamily="34" charset="0"/>
                        </a:rPr>
                        <a:t> tim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 err="1">
                          <a:latin typeface="Euphemia" panose="020B0503040102020104" pitchFamily="34" charset="0"/>
                        </a:rPr>
                        <a:t>seconds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425828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17</a:t>
                      </a: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0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5548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4.95</a:t>
                      </a:r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1426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.33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16845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32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0.0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154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4.9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20039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3.82</a:t>
                      </a: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154166"/>
                  </a:ext>
                </a:extLst>
              </a:tr>
              <a:tr h="838573">
                <a:tc>
                  <a:txBody>
                    <a:bodyPr/>
                    <a:lstStyle/>
                    <a:p>
                      <a:pPr algn="ctr"/>
                      <a:r>
                        <a:rPr lang="nl-NL" sz="17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700" kern="1200" dirty="0">
                        <a:solidFill>
                          <a:schemeClr val="tx1"/>
                        </a:solidFill>
                        <a:effectLst/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1.086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solidFill>
                      <a:schemeClr val="bg2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nl-NL" sz="1700" kern="1200" dirty="0">
                        <a:solidFill>
                          <a:schemeClr val="tx1"/>
                        </a:solidFill>
                        <a:latin typeface="Euphemia" panose="020B0503040102020104" pitchFamily="34" charset="0"/>
                        <a:ea typeface="+mn-ea"/>
                        <a:cs typeface="+mn-cs"/>
                      </a:endParaRPr>
                    </a:p>
                  </a:txBody>
                  <a:tcPr marT="41564" marB="41564"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60118"/>
                  </a:ext>
                </a:extLst>
              </a:tr>
              <a:tr h="8313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700" kern="1200" dirty="0">
                          <a:solidFill>
                            <a:schemeClr val="tx1"/>
                          </a:solidFill>
                          <a:effectLst/>
                          <a:latin typeface="Euphemia" panose="020B0503040102020104" pitchFamily="34" charset="0"/>
                          <a:ea typeface="+mn-ea"/>
                          <a:cs typeface="+mn-cs"/>
                        </a:rPr>
                        <a:t>0.954</a:t>
                      </a:r>
                    </a:p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NL" sz="1700" dirty="0">
                        <a:latin typeface="Euphemia" panose="020B0503040102020104" pitchFamily="34" charset="0"/>
                      </a:endParaRPr>
                    </a:p>
                  </a:txBody>
                  <a:tcPr marT="41564" marB="41564" anchor="ctr"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006481"/>
                  </a:ext>
                </a:extLst>
              </a:tr>
            </a:tbl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cxnSp>
        <p:nvCxnSpPr>
          <p:cNvPr id="51" name="LineBasicDefault 16">
            <a:extLst>
              <a:ext uri="{FF2B5EF4-FFF2-40B4-BE49-F238E27FC236}">
                <a16:creationId xmlns:a16="http://schemas.microsoft.com/office/drawing/2014/main" id="{E3D79708-299C-5C4E-9B14-5F0ADC4B466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65988" y="1737360"/>
            <a:ext cx="11071276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9399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Afbeelding 3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607B321-F67E-F148-AB44-205223FA0C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709"/>
          <a:stretch/>
        </p:blipFill>
        <p:spPr>
          <a:xfrm>
            <a:off x="3358538" y="1273829"/>
            <a:ext cx="7311390" cy="5115666"/>
          </a:xfrm>
          <a:prstGeom prst="rect">
            <a:avLst/>
          </a:prstGeom>
        </p:spPr>
      </p:pic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F335BC2E-68E6-43FC-ACED-AE46FEFCA15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8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F335BC2E-68E6-43FC-ACED-AE46FEFCA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4AD15D-56CF-4D77-8F3A-A842E4773D4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61846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21067"/>
            <a:ext cx="11082528" cy="731520"/>
          </a:xfrm>
        </p:spPr>
        <p:txBody>
          <a:bodyPr/>
          <a:lstStyle/>
          <a:p>
            <a:r>
              <a:rPr lang="en-US" dirty="0"/>
              <a:t>Comparison of the algorithm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59602F9-2A57-5C45-9C18-8DB54038F495}"/>
              </a:ext>
            </a:extLst>
          </p:cNvPr>
          <p:cNvSpPr txBox="1"/>
          <p:nvPr/>
        </p:nvSpPr>
        <p:spPr>
          <a:xfrm>
            <a:off x="10766323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DE0AC30-1B60-274B-8574-A98928F04B13}"/>
              </a:ext>
            </a:extLst>
          </p:cNvPr>
          <p:cNvSpPr txBox="1"/>
          <p:nvPr/>
        </p:nvSpPr>
        <p:spPr>
          <a:xfrm>
            <a:off x="10338619" y="1194619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53" name="TextBox 46">
            <a:extLst>
              <a:ext uri="{FF2B5EF4-FFF2-40B4-BE49-F238E27FC236}">
                <a16:creationId xmlns:a16="http://schemas.microsoft.com/office/drawing/2014/main" id="{5CC24B52-0F97-6748-94D1-D388CAC91476}"/>
              </a:ext>
            </a:extLst>
          </p:cNvPr>
          <p:cNvSpPr txBox="1"/>
          <p:nvPr/>
        </p:nvSpPr>
        <p:spPr>
          <a:xfrm>
            <a:off x="565988" y="1350840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Board 6x6, game 1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64F7E3FB-1BB8-7042-805D-ED145B0C6DE5}"/>
              </a:ext>
            </a:extLst>
          </p:cNvPr>
          <p:cNvSpPr/>
          <p:nvPr/>
        </p:nvSpPr>
        <p:spPr>
          <a:xfrm>
            <a:off x="4436035" y="1618177"/>
            <a:ext cx="212561" cy="20856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" name="Zeshoek 3">
            <a:extLst>
              <a:ext uri="{FF2B5EF4-FFF2-40B4-BE49-F238E27FC236}">
                <a16:creationId xmlns:a16="http://schemas.microsoft.com/office/drawing/2014/main" id="{79B46FFC-AE12-E44D-B948-32720C2A1252}"/>
              </a:ext>
            </a:extLst>
          </p:cNvPr>
          <p:cNvSpPr/>
          <p:nvPr/>
        </p:nvSpPr>
        <p:spPr>
          <a:xfrm>
            <a:off x="8877371" y="4031012"/>
            <a:ext cx="212562" cy="15879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5" name="Ruit 14">
            <a:extLst>
              <a:ext uri="{FF2B5EF4-FFF2-40B4-BE49-F238E27FC236}">
                <a16:creationId xmlns:a16="http://schemas.microsoft.com/office/drawing/2014/main" id="{14CCA344-0346-F941-A52F-93EDC5EB8004}"/>
              </a:ext>
            </a:extLst>
          </p:cNvPr>
          <p:cNvSpPr/>
          <p:nvPr/>
        </p:nvSpPr>
        <p:spPr>
          <a:xfrm>
            <a:off x="9585397" y="5455684"/>
            <a:ext cx="212562" cy="208570"/>
          </a:xfrm>
          <a:prstGeom prst="diamond">
            <a:avLst/>
          </a:prstGeom>
          <a:solidFill>
            <a:srgbClr val="92D050"/>
          </a:solidFill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14" name="5-puntige ster 13">
            <a:extLst>
              <a:ext uri="{FF2B5EF4-FFF2-40B4-BE49-F238E27FC236}">
                <a16:creationId xmlns:a16="http://schemas.microsoft.com/office/drawing/2014/main" id="{0EAD3901-1C24-4744-9796-2FC67D1D3587}"/>
              </a:ext>
            </a:extLst>
          </p:cNvPr>
          <p:cNvSpPr/>
          <p:nvPr/>
        </p:nvSpPr>
        <p:spPr>
          <a:xfrm>
            <a:off x="8771090" y="5457344"/>
            <a:ext cx="212562" cy="208569"/>
          </a:xfrm>
          <a:prstGeom prst="star5">
            <a:avLst/>
          </a:prstGeom>
          <a:solidFill>
            <a:srgbClr val="F0A7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0985B182-3A11-3349-99B0-98D8094F1BD8}"/>
              </a:ext>
            </a:extLst>
          </p:cNvPr>
          <p:cNvSpPr txBox="1"/>
          <p:nvPr/>
        </p:nvSpPr>
        <p:spPr>
          <a:xfrm>
            <a:off x="910816" y="1788360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  <a:p>
            <a:pPr lvl="1">
              <a:spcAft>
                <a:spcPts val="600"/>
              </a:spcAft>
            </a:pPr>
            <a:endParaRPr lang="en-US" sz="1400" dirty="0"/>
          </a:p>
          <a:p>
            <a:pPr marL="3175" lvl="1" indent="0">
              <a:spcAft>
                <a:spcPts val="600"/>
              </a:spcAft>
              <a:buNone/>
            </a:pPr>
            <a:endParaRPr lang="en-US" sz="1400" dirty="0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311A50E1-C26E-FA40-B2C5-160669711A14}"/>
              </a:ext>
            </a:extLst>
          </p:cNvPr>
          <p:cNvSpPr/>
          <p:nvPr/>
        </p:nvSpPr>
        <p:spPr>
          <a:xfrm>
            <a:off x="4312493" y="3044746"/>
            <a:ext cx="1811538" cy="11646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pic>
        <p:nvPicPr>
          <p:cNvPr id="23" name="Afbeelding 2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7E60F41D-6B5B-7B49-B73C-2394DC550BD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284" t="45577" r="73064" b="40484"/>
          <a:stretch/>
        </p:blipFill>
        <p:spPr>
          <a:xfrm>
            <a:off x="565988" y="2587266"/>
            <a:ext cx="2447722" cy="1540889"/>
          </a:xfrm>
          <a:prstGeom prst="rect">
            <a:avLst/>
          </a:prstGeom>
        </p:spPr>
      </p:pic>
      <p:pic>
        <p:nvPicPr>
          <p:cNvPr id="7" name="Afbeelding 6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9F4AB0EC-2911-414A-A90A-DC46D3192E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4736" y="4583737"/>
            <a:ext cx="2490931" cy="154088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085031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76F54E3D-C394-43F5-94DF-57C91DCE594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76F54E3D-C394-43F5-94DF-57C91DCE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69DD848-BA36-4944-890D-C8A414B13F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Project planning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BC1879D-724A-4234-ACE3-BCCF5C27BE47}"/>
              </a:ext>
            </a:extLst>
          </p:cNvPr>
          <p:cNvSpPr/>
          <p:nvPr/>
        </p:nvSpPr>
        <p:spPr>
          <a:xfrm>
            <a:off x="5117328" y="4701804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0A905115-AB81-4330-B94F-B3C1DC416EAC}"/>
              </a:ext>
            </a:extLst>
          </p:cNvPr>
          <p:cNvSpPr/>
          <p:nvPr/>
        </p:nvSpPr>
        <p:spPr>
          <a:xfrm>
            <a:off x="6749943" y="4172373"/>
            <a:ext cx="1634437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2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2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4A6F413-45A0-42F6-8658-C57FBDEC465F}"/>
              </a:ext>
            </a:extLst>
          </p:cNvPr>
          <p:cNvSpPr/>
          <p:nvPr/>
        </p:nvSpPr>
        <p:spPr>
          <a:xfrm>
            <a:off x="8386764" y="3636458"/>
            <a:ext cx="1619250" cy="530730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D9CB54C-6A46-4F0B-92B1-F6060C72E410}"/>
              </a:ext>
            </a:extLst>
          </p:cNvPr>
          <p:cNvSpPr/>
          <p:nvPr/>
        </p:nvSpPr>
        <p:spPr>
          <a:xfrm>
            <a:off x="10016528" y="3106152"/>
            <a:ext cx="1627218" cy="524393"/>
          </a:xfrm>
          <a:custGeom>
            <a:avLst/>
            <a:gdLst>
              <a:gd name="connsiteX0" fmla="*/ 0 w 2157038"/>
              <a:gd name="connsiteY0" fmla="*/ 528069 h 524392"/>
              <a:gd name="connsiteX1" fmla="*/ 0 w 2157038"/>
              <a:gd name="connsiteY1" fmla="*/ 0 h 524392"/>
              <a:gd name="connsiteX2" fmla="*/ 2161471 w 2157038"/>
              <a:gd name="connsiteY2" fmla="*/ 0 h 524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038" h="524392">
                <a:moveTo>
                  <a:pt x="0" y="528069"/>
                </a:moveTo>
                <a:lnTo>
                  <a:pt x="0" y="0"/>
                </a:lnTo>
                <a:lnTo>
                  <a:pt x="2161471" y="0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5EB0077-A04A-4361-AE13-C6B0944390AB}"/>
              </a:ext>
            </a:extLst>
          </p:cNvPr>
          <p:cNvSpPr>
            <a:spLocks noChangeAspect="1"/>
          </p:cNvSpPr>
          <p:nvPr/>
        </p:nvSpPr>
        <p:spPr>
          <a:xfrm>
            <a:off x="5727203" y="4025236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D58BE76-B33A-4F03-B69B-D0A6E96DD224}"/>
              </a:ext>
            </a:extLst>
          </p:cNvPr>
          <p:cNvSpPr>
            <a:spLocks noChangeAspect="1"/>
          </p:cNvSpPr>
          <p:nvPr/>
        </p:nvSpPr>
        <p:spPr>
          <a:xfrm>
            <a:off x="7363427" y="3475627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7A4489-02CC-4760-BC7B-DA62AE90DA97}"/>
              </a:ext>
            </a:extLst>
          </p:cNvPr>
          <p:cNvSpPr txBox="1"/>
          <p:nvPr/>
        </p:nvSpPr>
        <p:spPr>
          <a:xfrm>
            <a:off x="5226583" y="4800544"/>
            <a:ext cx="1414105" cy="9387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Simple gameplay possible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Game playable by h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DF64EC-B8BD-48CC-968F-917DBDC289A8}"/>
              </a:ext>
            </a:extLst>
          </p:cNvPr>
          <p:cNvSpPr txBox="1"/>
          <p:nvPr/>
        </p:nvSpPr>
        <p:spPr>
          <a:xfrm>
            <a:off x="6864657" y="4276151"/>
            <a:ext cx="1414105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Random algorithm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imple algorithm able to solve the simple 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24894E-0821-4B69-A5C0-294CE025C6E6}"/>
              </a:ext>
            </a:extLst>
          </p:cNvPr>
          <p:cNvSpPr txBox="1"/>
          <p:nvPr/>
        </p:nvSpPr>
        <p:spPr>
          <a:xfrm>
            <a:off x="8494575" y="3740236"/>
            <a:ext cx="1414105" cy="14465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Advanced algorithm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Optimization memory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Data visualiz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713EEA-F2F1-41DF-B2AF-38D47208624B}"/>
              </a:ext>
            </a:extLst>
          </p:cNvPr>
          <p:cNvSpPr txBox="1"/>
          <p:nvPr/>
        </p:nvSpPr>
        <p:spPr>
          <a:xfrm>
            <a:off x="10123085" y="3209930"/>
            <a:ext cx="1414105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b="1" dirty="0">
                <a:latin typeface="Euphemia" panose="020B0503040102020104" pitchFamily="34" charset="0"/>
              </a:rPr>
              <a:t>Create random boards</a:t>
            </a:r>
          </a:p>
          <a:p>
            <a:r>
              <a:rPr lang="en-US" sz="1400" dirty="0">
                <a:latin typeface="Euphemia" panose="020B0503040102020104" pitchFamily="34" charset="0"/>
              </a:rPr>
              <a:t>Solve the random created boards and determine what is the difficulty in solving them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DDB662F-ED77-4A6C-896C-9E2D175E5192}"/>
              </a:ext>
            </a:extLst>
          </p:cNvPr>
          <p:cNvCxnSpPr>
            <a:cxnSpLocks/>
          </p:cNvCxnSpPr>
          <p:nvPr/>
        </p:nvCxnSpPr>
        <p:spPr>
          <a:xfrm flipH="1">
            <a:off x="554737" y="5231234"/>
            <a:ext cx="4559869" cy="0"/>
          </a:xfrm>
          <a:prstGeom prst="line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Legend2">
            <a:extLst>
              <a:ext uri="{FF2B5EF4-FFF2-40B4-BE49-F238E27FC236}">
                <a16:creationId xmlns:a16="http://schemas.microsoft.com/office/drawing/2014/main" id="{2A59F6E2-40C9-4D26-97C9-CE287D16F708}"/>
              </a:ext>
            </a:extLst>
          </p:cNvPr>
          <p:cNvSpPr/>
          <p:nvPr/>
        </p:nvSpPr>
        <p:spPr>
          <a:xfrm>
            <a:off x="9871173" y="870636"/>
            <a:ext cx="172729" cy="172729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31" name="Legend2">
            <a:extLst>
              <a:ext uri="{FF2B5EF4-FFF2-40B4-BE49-F238E27FC236}">
                <a16:creationId xmlns:a16="http://schemas.microsoft.com/office/drawing/2014/main" id="{93DEB18E-CA4C-49EC-AF1B-68C13C479CFD}"/>
              </a:ext>
            </a:extLst>
          </p:cNvPr>
          <p:cNvSpPr txBox="1"/>
          <p:nvPr/>
        </p:nvSpPr>
        <p:spPr>
          <a:xfrm>
            <a:off x="10224499" y="849278"/>
            <a:ext cx="1649362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Advanced (optional)</a:t>
            </a:r>
          </a:p>
        </p:txBody>
      </p:sp>
      <p:sp>
        <p:nvSpPr>
          <p:cNvPr id="36" name="RectangleLegend2">
            <a:extLst>
              <a:ext uri="{FF2B5EF4-FFF2-40B4-BE49-F238E27FC236}">
                <a16:creationId xmlns:a16="http://schemas.microsoft.com/office/drawing/2014/main" id="{ED61EEAB-1B21-4775-8452-E4C7861AD426}"/>
              </a:ext>
            </a:extLst>
          </p:cNvPr>
          <p:cNvSpPr/>
          <p:nvPr/>
        </p:nvSpPr>
        <p:spPr>
          <a:xfrm>
            <a:off x="9915241" y="2205390"/>
            <a:ext cx="1917928" cy="3955380"/>
          </a:xfrm>
          <a:prstGeom prst="rect">
            <a:avLst/>
          </a:prstGeom>
          <a:noFill/>
          <a:ln w="19050" cap="sq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46" name="Legend1">
            <a:extLst>
              <a:ext uri="{FF2B5EF4-FFF2-40B4-BE49-F238E27FC236}">
                <a16:creationId xmlns:a16="http://schemas.microsoft.com/office/drawing/2014/main" id="{7A4A4D9B-7B22-41AB-84A4-CA6151C92E5E}"/>
              </a:ext>
            </a:extLst>
          </p:cNvPr>
          <p:cNvSpPr txBox="1"/>
          <p:nvPr/>
        </p:nvSpPr>
        <p:spPr>
          <a:xfrm>
            <a:off x="10224499" y="402761"/>
            <a:ext cx="1067023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urrent stat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195A460-5625-411A-9DA9-28F19FD6F5AE}"/>
              </a:ext>
            </a:extLst>
          </p:cNvPr>
          <p:cNvSpPr>
            <a:spLocks noChangeAspect="1"/>
          </p:cNvSpPr>
          <p:nvPr/>
        </p:nvSpPr>
        <p:spPr>
          <a:xfrm>
            <a:off x="9754231" y="266822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29" name="Oval 43">
            <a:extLst>
              <a:ext uri="{FF2B5EF4-FFF2-40B4-BE49-F238E27FC236}">
                <a16:creationId xmlns:a16="http://schemas.microsoft.com/office/drawing/2014/main" id="{E6515D02-93CA-7143-8B48-F283B871054D}"/>
              </a:ext>
            </a:extLst>
          </p:cNvPr>
          <p:cNvSpPr>
            <a:spLocks noChangeAspect="1"/>
          </p:cNvSpPr>
          <p:nvPr/>
        </p:nvSpPr>
        <p:spPr>
          <a:xfrm>
            <a:off x="8893268" y="3058959"/>
            <a:ext cx="407468" cy="407468"/>
          </a:xfrm>
          <a:prstGeom prst="ellipse">
            <a:avLst/>
          </a:prstGeom>
          <a:solidFill>
            <a:schemeClr val="accent2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33" name="Oval 44">
            <a:extLst>
              <a:ext uri="{FF2B5EF4-FFF2-40B4-BE49-F238E27FC236}">
                <a16:creationId xmlns:a16="http://schemas.microsoft.com/office/drawing/2014/main" id="{BFB421D7-B8C9-C84B-85CF-E00E0741E10D}"/>
              </a:ext>
            </a:extLst>
          </p:cNvPr>
          <p:cNvSpPr>
            <a:spLocks noChangeAspect="1"/>
          </p:cNvSpPr>
          <p:nvPr/>
        </p:nvSpPr>
        <p:spPr>
          <a:xfrm>
            <a:off x="10670471" y="2435862"/>
            <a:ext cx="407468" cy="407468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r>
              <a:rPr lang="en-US" sz="200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pic>
        <p:nvPicPr>
          <p:cNvPr id="3" name="Graphic 2" descr="Lopen">
            <a:extLst>
              <a:ext uri="{FF2B5EF4-FFF2-40B4-BE49-F238E27FC236}">
                <a16:creationId xmlns:a16="http://schemas.microsoft.com/office/drawing/2014/main" id="{5DE8B435-F8EE-9F46-AD7F-DE5EBDB892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42833" y="3351975"/>
            <a:ext cx="1917928" cy="191792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3355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4B434660-1261-48E5-8933-EB94877B9D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29"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4B434660-1261-48E5-8933-EB94877B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BB9CACBD-737F-4BDF-A989-7F26F15FB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57032F3-262D-4276-B710-7C60D360029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z="2800" dirty="0" err="1"/>
              <a:t>Statespace</a:t>
            </a:r>
            <a:r>
              <a:rPr lang="en-US" sz="2800" dirty="0"/>
              <a:t> can be considered as all possible board states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AFF8BF-F998-4776-AE46-F34F01F43166}"/>
              </a:ext>
            </a:extLst>
          </p:cNvPr>
          <p:cNvGrpSpPr/>
          <p:nvPr/>
        </p:nvGrpSpPr>
        <p:grpSpPr>
          <a:xfrm>
            <a:off x="2619777" y="2689860"/>
            <a:ext cx="3377882" cy="3590774"/>
            <a:chOff x="2220278" y="1517030"/>
            <a:chExt cx="4143800" cy="4404964"/>
          </a:xfrm>
        </p:grpSpPr>
        <p:pic>
          <p:nvPicPr>
            <p:cNvPr id="7" name="Picture 307" descr="https://theorie.mprog.nl/course/cases/Rush%20Hour/Rushhour6x6_1.jpg">
              <a:extLst>
                <a:ext uri="{FF2B5EF4-FFF2-40B4-BE49-F238E27FC236}">
                  <a16:creationId xmlns:a16="http://schemas.microsoft.com/office/drawing/2014/main" id="{50B22BD6-DD88-49C1-A705-FBD4EA1D1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0278" y="1517030"/>
              <a:ext cx="4143800" cy="4404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D62883-9B22-4D34-B134-81FE97F399DC}"/>
                </a:ext>
              </a:extLst>
            </p:cNvPr>
            <p:cNvSpPr/>
            <p:nvPr/>
          </p:nvSpPr>
          <p:spPr>
            <a:xfrm>
              <a:off x="2501795" y="1846578"/>
              <a:ext cx="3604260" cy="5588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38100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EEED8FF-0A66-4FC3-A49B-82706FEA2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6328" y="1870709"/>
              <a:ext cx="1085850" cy="552450"/>
            </a:xfrm>
            <a:prstGeom prst="rect">
              <a:avLst/>
            </a:prstGeom>
          </p:spPr>
        </p:pic>
        <p:pic>
          <p:nvPicPr>
            <p:cNvPr id="8" name="CustomIcon">
              <a:extLst>
                <a:ext uri="{FF2B5EF4-FFF2-40B4-BE49-F238E27FC236}">
                  <a16:creationId xmlns:a16="http://schemas.microsoft.com/office/drawing/2014/main" id="{48F8ADF3-B111-43AA-ABE5-72DCAF42435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29543" y="1896109"/>
              <a:ext cx="439420" cy="43942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/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𝑠𝑡𝑎𝑡𝑒𝑠𝑝𝑎𝑐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=</m:t>
                      </m:r>
                      <m:nary>
                        <m:naryPr>
                          <m:chr m:val="∏"/>
                          <m:ctrlPr>
                            <a:rPr lang="pt-BR" sz="14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𝑛</m:t>
                          </m:r>
                        </m:sup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𝑏𝑜𝑎𝑟</m:t>
                          </m:r>
                          <m:sSub>
                            <m:sSubPr>
                              <m:ctrlP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𝑐𝑎</m:t>
                              </m:r>
                              <m:sSub>
                                <m:sSub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𝑙𝑒𝑛𝑔𝑡h</m:t>
                              </m:r>
                            </m:sub>
                          </m:s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+1)</m:t>
                          </m:r>
                        </m:e>
                      </m:nary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A505E32-ABF4-4B1D-9DF9-B070012ACD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1" y="2567150"/>
                <a:ext cx="2805197" cy="704025"/>
              </a:xfrm>
              <a:prstGeom prst="rect">
                <a:avLst/>
              </a:prstGeom>
              <a:blipFill>
                <a:blip r:embed="rId21"/>
                <a:stretch>
                  <a:fillRect r="-33696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/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none" lIns="0" tIns="0" rIns="0" bIns="0" rtlCol="0">
                <a:noAutofit/>
              </a:bodyPr>
              <a:lstStyle/>
              <a:p>
                <a:pPr algn="l">
                  <a:spcBef>
                    <a:spcPts val="300"/>
                  </a:spcBef>
                  <a:spcAft>
                    <a:spcPts val="3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𝑜𝑡𝑎𝑙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𝑐𝑎𝑟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𝑜𝑛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𝑡h𝑒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𝑏𝑜𝑎𝑟𝑑</m:t>
                      </m:r>
                    </m:oMath>
                  </m:oMathPara>
                </a14:m>
                <a:endParaRPr lang="en-US" sz="14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156025D-D9A9-4BF1-94DB-E1269B8FDE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01122" y="2093662"/>
                <a:ext cx="910354" cy="281940"/>
              </a:xfrm>
              <a:prstGeom prst="rect">
                <a:avLst/>
              </a:prstGeom>
              <a:blipFill>
                <a:blip r:embed="rId22"/>
                <a:stretch>
                  <a:fillRect l="-5369" r="-146309"/>
                </a:stretch>
              </a:blipFill>
              <a:ln w="6350">
                <a:noFill/>
                <a:miter lim="800000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1B6CFC-44EA-427C-A976-34287769FACC}"/>
              </a:ext>
            </a:extLst>
          </p:cNvPr>
          <p:cNvCxnSpPr/>
          <p:nvPr/>
        </p:nvCxnSpPr>
        <p:spPr>
          <a:xfrm>
            <a:off x="8019454" y="2093662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neBasicDefault 16">
            <a:extLst>
              <a:ext uri="{FF2B5EF4-FFF2-40B4-BE49-F238E27FC236}">
                <a16:creationId xmlns:a16="http://schemas.microsoft.com/office/drawing/2014/main" id="{13352C97-DB77-46DB-8E9F-BA4BAB1FD69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849120"/>
            <a:ext cx="7094652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B6CB005D-D1D7-48EC-8A4E-3101B438FFED}"/>
              </a:ext>
            </a:extLst>
          </p:cNvPr>
          <p:cNvSpPr/>
          <p:nvPr/>
        </p:nvSpPr>
        <p:spPr>
          <a:xfrm>
            <a:off x="7682972" y="1666240"/>
            <a:ext cx="484632" cy="484632"/>
          </a:xfrm>
          <a:prstGeom prst="chevron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EF902687-981F-47D4-ABE7-E36182DC6869}"/>
              </a:ext>
            </a:extLst>
          </p:cNvPr>
          <p:cNvSpPr/>
          <p:nvPr/>
        </p:nvSpPr>
        <p:spPr>
          <a:xfrm>
            <a:off x="7676113" y="175038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DDFEA2-2C25-45C0-9B6C-E6832043BE58}"/>
              </a:ext>
            </a:extLst>
          </p:cNvPr>
          <p:cNvSpPr txBox="1"/>
          <p:nvPr/>
        </p:nvSpPr>
        <p:spPr>
          <a:xfrm>
            <a:off x="565987" y="1199068"/>
            <a:ext cx="7305319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Board specific an upper bound </a:t>
            </a:r>
            <a:r>
              <a:rPr lang="en-US" sz="2000" b="1" dirty="0" err="1">
                <a:cs typeface="+mn-cs"/>
              </a:rPr>
              <a:t>statespace</a:t>
            </a:r>
            <a:r>
              <a:rPr lang="en-US" sz="2000" b="1" dirty="0">
                <a:cs typeface="+mn-cs"/>
              </a:rPr>
              <a:t> is a function of all possible car positions and is</a:t>
            </a:r>
            <a:endParaRPr lang="en-US" dirty="0"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7B45ED6-4B36-4340-8D4A-26C429E52D66}"/>
              </a:ext>
            </a:extLst>
          </p:cNvPr>
          <p:cNvGrpSpPr/>
          <p:nvPr/>
        </p:nvGrpSpPr>
        <p:grpSpPr>
          <a:xfrm>
            <a:off x="8325750" y="1506844"/>
            <a:ext cx="3816473" cy="425048"/>
            <a:chOff x="9167230" y="1395084"/>
            <a:chExt cx="2974993" cy="3422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7C5FEB-9595-445B-AB4B-3C426C3E8A39}"/>
                </a:ext>
              </a:extLst>
            </p:cNvPr>
            <p:cNvSpPr txBox="1"/>
            <p:nvPr/>
          </p:nvSpPr>
          <p:spPr>
            <a:xfrm>
              <a:off x="9167230" y="1395084"/>
              <a:ext cx="2447722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cs typeface="+mn-cs"/>
                </a:rPr>
                <a:t>Generic formula</a:t>
              </a:r>
              <a:endParaRPr lang="en-US" dirty="0">
                <a:cs typeface="+mn-cs"/>
              </a:endParaRPr>
            </a:p>
          </p:txBody>
        </p:sp>
        <p:cxnSp>
          <p:nvCxnSpPr>
            <p:cNvPr id="29" name="LineBasicDefault 16">
              <a:extLst>
                <a:ext uri="{FF2B5EF4-FFF2-40B4-BE49-F238E27FC236}">
                  <a16:creationId xmlns:a16="http://schemas.microsoft.com/office/drawing/2014/main" id="{BB2A39F9-9FA4-41E1-AB9A-0C4A275FE53A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167230" y="1737360"/>
              <a:ext cx="2974993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407D377-62BE-4A3C-B060-C64513FD3F99}"/>
              </a:ext>
            </a:extLst>
          </p:cNvPr>
          <p:cNvSpPr txBox="1"/>
          <p:nvPr/>
        </p:nvSpPr>
        <p:spPr>
          <a:xfrm>
            <a:off x="6292499" y="2682004"/>
            <a:ext cx="1578807" cy="92306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No limits assumed</a:t>
            </a:r>
            <a:endParaRPr lang="en-US" sz="1400" b="1" baseline="300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rs can be placed on top of each other for simplicity (this overestimates the space) 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5CC005E-3C81-464F-8AC6-C08A5A7EAF72}"/>
              </a:ext>
            </a:extLst>
          </p:cNvPr>
          <p:cNvCxnSpPr>
            <a:cxnSpLocks/>
          </p:cNvCxnSpPr>
          <p:nvPr/>
        </p:nvCxnSpPr>
        <p:spPr>
          <a:xfrm>
            <a:off x="6444899" y="2375602"/>
            <a:ext cx="0" cy="1617278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3479EEE-4E54-47BB-924B-55004D2EFE7C}"/>
              </a:ext>
            </a:extLst>
          </p:cNvPr>
          <p:cNvSpPr txBox="1"/>
          <p:nvPr/>
        </p:nvSpPr>
        <p:spPr>
          <a:xfrm>
            <a:off x="532972" y="2382734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Car can be in </a:t>
            </a:r>
            <a:r>
              <a:rPr lang="en-US" sz="1400" b="1" dirty="0" err="1"/>
              <a:t>board</a:t>
            </a:r>
            <a:r>
              <a:rPr lang="en-US" sz="1400" b="1" baseline="-25000" dirty="0" err="1"/>
              <a:t>length</a:t>
            </a:r>
            <a:r>
              <a:rPr lang="en-US" sz="1400" b="1" dirty="0"/>
              <a:t> – 1 positions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Horizontal cars can only move in their row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9ADABA4-7004-4518-8B95-812D84C86F76}"/>
              </a:ext>
            </a:extLst>
          </p:cNvPr>
          <p:cNvCxnSpPr>
            <a:cxnSpLocks/>
          </p:cNvCxnSpPr>
          <p:nvPr/>
        </p:nvCxnSpPr>
        <p:spPr>
          <a:xfrm>
            <a:off x="2159959" y="2332849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Segment 38">
            <a:extLst>
              <a:ext uri="{FF2B5EF4-FFF2-40B4-BE49-F238E27FC236}">
                <a16:creationId xmlns:a16="http://schemas.microsoft.com/office/drawing/2014/main" id="{F87B83CA-9D2C-4F07-AE88-69DD1E920BB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6292499" y="4402337"/>
            <a:ext cx="1578807" cy="1535111"/>
            <a:chOff x="1016000" y="779124"/>
            <a:chExt cx="2463800" cy="1309499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4CA4BD-0826-49A1-901C-ECBED850AB25}"/>
                </a:ext>
              </a:extLst>
            </p:cNvPr>
            <p:cNvSpPr txBox="1"/>
            <p:nvPr/>
          </p:nvSpPr>
          <p:spPr>
            <a:xfrm>
              <a:off x="1016000" y="1016000"/>
              <a:ext cx="2463800" cy="787400"/>
            </a:xfrm>
            <a:prstGeom prst="rect">
              <a:avLst/>
            </a:prstGeom>
          </p:spPr>
          <p:txBody>
            <a:bodyPr vert="horz" wrap="square" lIns="27432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Vertical cars same logic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/>
                <a:t>Logic similar to horizontal cars that can be in every place of their row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3A49C43-18F5-4441-85DA-653F0A9EBB92}"/>
                </a:ext>
              </a:extLst>
            </p:cNvPr>
            <p:cNvCxnSpPr>
              <a:cxnSpLocks/>
            </p:cNvCxnSpPr>
            <p:nvPr/>
          </p:nvCxnSpPr>
          <p:spPr>
            <a:xfrm>
              <a:off x="1253827" y="779124"/>
              <a:ext cx="0" cy="1309499"/>
            </a:xfrm>
            <a:prstGeom prst="straightConnector1">
              <a:avLst/>
            </a:prstGeom>
            <a:ln w="4572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5DFD4EB8-A8B8-4AD0-B185-E1255FCE4CD8}"/>
              </a:ext>
            </a:extLst>
          </p:cNvPr>
          <p:cNvSpPr txBox="1"/>
          <p:nvPr/>
        </p:nvSpPr>
        <p:spPr>
          <a:xfrm>
            <a:off x="532972" y="4613161"/>
            <a:ext cx="1578807" cy="1045771"/>
          </a:xfrm>
          <a:prstGeom prst="rect">
            <a:avLst/>
          </a:prstGeom>
        </p:spPr>
        <p:txBody>
          <a:bodyPr vert="horz" wrap="square" lIns="27432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b="1" dirty="0"/>
              <a:t>Possible states is a function of positions of all car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Calculated by the product of all separate cars </a:t>
            </a:r>
            <a:r>
              <a:rPr lang="en-US" sz="1400" dirty="0" err="1"/>
              <a:t>possitions</a:t>
            </a:r>
            <a:r>
              <a:rPr lang="en-US" sz="1400" dirty="0"/>
              <a:t> 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E5C3CE2F-A50C-4510-91B5-3C5C7C9F81A8}"/>
              </a:ext>
            </a:extLst>
          </p:cNvPr>
          <p:cNvCxnSpPr>
            <a:cxnSpLocks/>
          </p:cNvCxnSpPr>
          <p:nvPr/>
        </p:nvCxnSpPr>
        <p:spPr>
          <a:xfrm>
            <a:off x="2159959" y="4352452"/>
            <a:ext cx="0" cy="1250025"/>
          </a:xfrm>
          <a:prstGeom prst="straightConnector1">
            <a:avLst/>
          </a:prstGeom>
          <a:ln w="4572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neSpecialityBullet 57">
            <a:extLst>
              <a:ext uri="{FF2B5EF4-FFF2-40B4-BE49-F238E27FC236}">
                <a16:creationId xmlns:a16="http://schemas.microsoft.com/office/drawing/2014/main" id="{4BAF0388-0E92-4946-B562-D1B66D9B813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2159959" y="3167487"/>
            <a:ext cx="1270000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LineSpecialityBullet 57">
            <a:extLst>
              <a:ext uri="{FF2B5EF4-FFF2-40B4-BE49-F238E27FC236}">
                <a16:creationId xmlns:a16="http://schemas.microsoft.com/office/drawing/2014/main" id="{5BE661BC-AE96-4DB9-ABC0-1BE38101750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159959" y="4964871"/>
            <a:ext cx="1527085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neSpecialityBullet 57">
            <a:extLst>
              <a:ext uri="{FF2B5EF4-FFF2-40B4-BE49-F238E27FC236}">
                <a16:creationId xmlns:a16="http://schemas.microsoft.com/office/drawing/2014/main" id="{B64E9E4A-7210-420D-968C-D866ECD7F1E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5552731" y="3193044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LineSpecialityBullet 57">
            <a:extLst>
              <a:ext uri="{FF2B5EF4-FFF2-40B4-BE49-F238E27FC236}">
                <a16:creationId xmlns:a16="http://schemas.microsoft.com/office/drawing/2014/main" id="{5D11DC0C-B614-4878-9C4D-6C9EF84F910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>
            <a:off x="5552731" y="4613161"/>
            <a:ext cx="852778" cy="0"/>
          </a:xfrm>
          <a:prstGeom prst="straightConnector1">
            <a:avLst/>
          </a:prstGeom>
          <a:ln w="31750" cap="sq">
            <a:solidFill>
              <a:schemeClr val="tx1"/>
            </a:solidFill>
            <a:miter lim="800000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58B408F-2B1B-4C93-BCCB-43EAE88205AE}"/>
              </a:ext>
            </a:extLst>
          </p:cNvPr>
          <p:cNvCxnSpPr>
            <a:cxnSpLocks/>
          </p:cNvCxnSpPr>
          <p:nvPr/>
        </p:nvCxnSpPr>
        <p:spPr>
          <a:xfrm>
            <a:off x="11072532" y="4964871"/>
            <a:ext cx="381000" cy="0"/>
          </a:xfrm>
          <a:prstGeom prst="straightConnector1">
            <a:avLst/>
          </a:prstGeom>
          <a:ln w="6350" cap="sq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15">
            <a:extLst>
              <a:ext uri="{FF2B5EF4-FFF2-40B4-BE49-F238E27FC236}">
                <a16:creationId xmlns:a16="http://schemas.microsoft.com/office/drawing/2014/main" id="{3A78A698-3294-0642-9465-EF25CABD5311}"/>
              </a:ext>
            </a:extLst>
          </p:cNvPr>
          <p:cNvSpPr txBox="1"/>
          <p:nvPr/>
        </p:nvSpPr>
        <p:spPr>
          <a:xfrm>
            <a:off x="8301121" y="3773650"/>
            <a:ext cx="2805197" cy="7040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6x6, game 1</a:t>
            </a:r>
            <a:r>
              <a:rPr lang="en-US" sz="1400" dirty="0">
                <a:latin typeface="Euphemia" panose="020B0503040102020104" pitchFamily="34" charset="0"/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2 x 2 x 3 x 3 x 5 x 3 x 3 x 5 x 5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>
                <a:latin typeface="Euphemia" panose="020B0503040102020104" pitchFamily="34" charset="0"/>
              </a:rPr>
              <a:t>x 4 x 3 x 3 x 5 =  7.290.000</a:t>
            </a:r>
          </a:p>
        </p:txBody>
      </p:sp>
    </p:spTree>
    <p:extLst>
      <p:ext uri="{BB962C8B-B14F-4D97-AF65-F5344CB8AC3E}">
        <p14:creationId xmlns:p14="http://schemas.microsoft.com/office/powerpoint/2010/main" val="1122519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D0ABBD-6BB4-4657-A5D3-6B70F0C00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12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7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C1FC8AF-AD28-4E0D-AE87-5660FF5479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727AC8-5156-4F82-B63F-AB3CF6ECCB6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13FC233-EFB7-5244-8D03-66AAF71A28A5}"/>
              </a:ext>
            </a:extLst>
          </p:cNvPr>
          <p:cNvSpPr txBox="1"/>
          <p:nvPr/>
        </p:nvSpPr>
        <p:spPr>
          <a:xfrm>
            <a:off x="4152900" y="1168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pic>
        <p:nvPicPr>
          <p:cNvPr id="9" name="Afbeelding 8" descr="Afbeelding met tekst, kaart&#10;&#10;Automatisch gegenereerde beschrijving">
            <a:extLst>
              <a:ext uri="{FF2B5EF4-FFF2-40B4-BE49-F238E27FC236}">
                <a16:creationId xmlns:a16="http://schemas.microsoft.com/office/drawing/2014/main" id="{09A6C250-5AB5-A84E-897C-549D8BBC059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2661" b="28081"/>
          <a:stretch/>
        </p:blipFill>
        <p:spPr>
          <a:xfrm>
            <a:off x="476824" y="2257412"/>
            <a:ext cx="4338500" cy="2928937"/>
          </a:xfrm>
          <a:prstGeom prst="rect">
            <a:avLst/>
          </a:prstGeom>
        </p:spPr>
      </p:pic>
      <p:pic>
        <p:nvPicPr>
          <p:cNvPr id="11" name="Afbeelding 10" descr="Afbeelding met tekst, kaart&#10;&#10;Automatisch gegenereerde beschrijving">
            <a:extLst>
              <a:ext uri="{FF2B5EF4-FFF2-40B4-BE49-F238E27FC236}">
                <a16:creationId xmlns:a16="http://schemas.microsoft.com/office/drawing/2014/main" id="{2C145830-D8D5-1441-B8A6-74FB867786B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1506" b="6804"/>
          <a:stretch/>
        </p:blipFill>
        <p:spPr>
          <a:xfrm>
            <a:off x="448248" y="5013381"/>
            <a:ext cx="4367074" cy="581591"/>
          </a:xfrm>
          <a:prstGeom prst="rect">
            <a:avLst/>
          </a:prstGeom>
        </p:spPr>
      </p:pic>
      <p:pic>
        <p:nvPicPr>
          <p:cNvPr id="12" name="Afbeelding 11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299EB8AE-03D3-9143-81F9-5E679337D1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4963" y="2014276"/>
            <a:ext cx="7157037" cy="3415208"/>
          </a:xfrm>
          <a:prstGeom prst="rect">
            <a:avLst/>
          </a:prstGeom>
        </p:spPr>
      </p:pic>
      <p:pic>
        <p:nvPicPr>
          <p:cNvPr id="14" name="Afbeelding 13" descr="Afbeelding met tekst, kaart&#10;&#10;Automatisch gegenereerde beschrijving">
            <a:extLst>
              <a:ext uri="{FF2B5EF4-FFF2-40B4-BE49-F238E27FC236}">
                <a16:creationId xmlns:a16="http://schemas.microsoft.com/office/drawing/2014/main" id="{E7066719-C236-D94F-9ABF-A5EBECA46D9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3295" b="86472"/>
          <a:stretch/>
        </p:blipFill>
        <p:spPr>
          <a:xfrm>
            <a:off x="554736" y="1243013"/>
            <a:ext cx="4338500" cy="83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48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0A65D2-3C81-C54F-A1CE-4E8176DDF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42EB673-BCE2-134E-A577-2C1FD7F86D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63AAFD6-4D99-1545-9B09-91D5E779FB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C04347C0-AA6C-1D41-9FA0-3911F0E14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1700" y="1313313"/>
            <a:ext cx="7067550" cy="4905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356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71640F-AF36-44A5-8DC5-609684D0C8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4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9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5208EBC-979E-4B77-913B-5CBB9EFD332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Visualization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DAB3984D-17AA-4F7B-A0F1-D55881B3A1F6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imple graphical</a:t>
            </a:r>
          </a:p>
        </p:txBody>
      </p:sp>
      <p:sp>
        <p:nvSpPr>
          <p:cNvPr id="5" name="AutoShape 2" descr="https://github.com/floorberkhout/commit4life/raw/master/doc/umlrushhour.png">
            <a:extLst>
              <a:ext uri="{FF2B5EF4-FFF2-40B4-BE49-F238E27FC236}">
                <a16:creationId xmlns:a16="http://schemas.microsoft.com/office/drawing/2014/main" id="{F8F5E586-5EF2-4E47-87CA-9C12588A58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2811780" cy="281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87ACFB-3356-41B5-A9DA-498DDEE610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9892" y="1576027"/>
            <a:ext cx="5805488" cy="421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196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 hidden="1">
            <a:extLst>
              <a:ext uri="{FF2B5EF4-FFF2-40B4-BE49-F238E27FC236}">
                <a16:creationId xmlns:a16="http://schemas.microsoft.com/office/drawing/2014/main" id="{8092E127-06ED-415C-A15D-5CD2B9A003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7"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9" name="Object 2" hidden="1">
                        <a:extLst>
                          <a:ext uri="{FF2B5EF4-FFF2-40B4-BE49-F238E27FC236}">
                            <a16:creationId xmlns:a16="http://schemas.microsoft.com/office/drawing/2014/main" id="{8092E127-06ED-415C-A15D-5CD2B9A00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>
              <a:ext uri="{FF2B5EF4-FFF2-40B4-BE49-F238E27FC236}">
                <a16:creationId xmlns:a16="http://schemas.microsoft.com/office/drawing/2014/main" id="{14649151-4029-43DD-8007-2EBB4AA58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DC6D9CC-B3C5-4F21-ADE9-EF0A7B45E1F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274304" cy="731520"/>
          </a:xfrm>
        </p:spPr>
        <p:txBody>
          <a:bodyPr/>
          <a:lstStyle/>
          <a:p>
            <a:r>
              <a:rPr lang="en-US" dirty="0"/>
              <a:t>Due to the nature of the problem we choose Random and Iterative algorithms</a:t>
            </a:r>
          </a:p>
        </p:txBody>
      </p:sp>
      <p:sp>
        <p:nvSpPr>
          <p:cNvPr id="74" name="X 57">
            <a:extLst>
              <a:ext uri="{FF2B5EF4-FFF2-40B4-BE49-F238E27FC236}">
                <a16:creationId xmlns:a16="http://schemas.microsoft.com/office/drawing/2014/main" id="{079F6D93-A71F-4620-88AB-F84265A66D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991809" y="627405"/>
            <a:ext cx="277868" cy="277482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24" name="Checkmark 60">
            <a:extLst>
              <a:ext uri="{FF2B5EF4-FFF2-40B4-BE49-F238E27FC236}">
                <a16:creationId xmlns:a16="http://schemas.microsoft.com/office/drawing/2014/main" id="{20D0482C-74C9-4E4D-B6BC-AF272DEC68E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9991809" y="230805"/>
            <a:ext cx="246842" cy="256313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5" name="Legend1">
            <a:extLst>
              <a:ext uri="{FF2B5EF4-FFF2-40B4-BE49-F238E27FC236}">
                <a16:creationId xmlns:a16="http://schemas.microsoft.com/office/drawing/2014/main" id="{94CA5AA7-23EE-4EF8-A323-62D70EA0B40A}"/>
              </a:ext>
            </a:extLst>
          </p:cNvPr>
          <p:cNvSpPr txBox="1"/>
          <p:nvPr/>
        </p:nvSpPr>
        <p:spPr>
          <a:xfrm>
            <a:off x="10312907" y="251239"/>
            <a:ext cx="666849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/>
              <a:t>selected</a:t>
            </a:r>
            <a:endParaRPr lang="en-US" sz="1400" dirty="0"/>
          </a:p>
        </p:txBody>
      </p:sp>
      <p:sp>
        <p:nvSpPr>
          <p:cNvPr id="38" name="Legend2">
            <a:extLst>
              <a:ext uri="{FF2B5EF4-FFF2-40B4-BE49-F238E27FC236}">
                <a16:creationId xmlns:a16="http://schemas.microsoft.com/office/drawing/2014/main" id="{9DA1B9D9-7428-4FBD-AD79-9F573ADD1D4B}"/>
              </a:ext>
            </a:extLst>
          </p:cNvPr>
          <p:cNvSpPr txBox="1"/>
          <p:nvPr/>
        </p:nvSpPr>
        <p:spPr>
          <a:xfrm>
            <a:off x="10312907" y="658424"/>
            <a:ext cx="965008" cy="215444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/>
              <a:t>not selec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04008E-4377-4515-8700-092FDA306EC6}"/>
              </a:ext>
            </a:extLst>
          </p:cNvPr>
          <p:cNvSpPr txBox="1">
            <a:spLocks/>
          </p:cNvSpPr>
          <p:nvPr/>
        </p:nvSpPr>
        <p:spPr>
          <a:xfrm>
            <a:off x="2136090" y="1560218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Rando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43CB42C-F0FD-42B1-8206-7EC4F8B8D906}"/>
              </a:ext>
            </a:extLst>
          </p:cNvPr>
          <p:cNvSpPr txBox="1">
            <a:spLocks/>
          </p:cNvSpPr>
          <p:nvPr/>
        </p:nvSpPr>
        <p:spPr>
          <a:xfrm>
            <a:off x="2136090" y="220556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Greed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278047-48F4-48DB-BD25-0A0759776D4D}"/>
              </a:ext>
            </a:extLst>
          </p:cNvPr>
          <p:cNvSpPr txBox="1">
            <a:spLocks/>
          </p:cNvSpPr>
          <p:nvPr/>
        </p:nvSpPr>
        <p:spPr>
          <a:xfrm>
            <a:off x="554736" y="1560218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Random</a:t>
            </a:r>
          </a:p>
        </p:txBody>
      </p:sp>
      <p:cxnSp>
        <p:nvCxnSpPr>
          <p:cNvPr id="39" name="LineBasicDefault 16">
            <a:extLst>
              <a:ext uri="{FF2B5EF4-FFF2-40B4-BE49-F238E27FC236}">
                <a16:creationId xmlns:a16="http://schemas.microsoft.com/office/drawing/2014/main" id="{DF6F9260-01D6-47CF-A5DE-6C4A181327F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289306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25C245C8-15A6-4545-B210-547C60ED261B}"/>
              </a:ext>
            </a:extLst>
          </p:cNvPr>
          <p:cNvSpPr txBox="1"/>
          <p:nvPr/>
        </p:nvSpPr>
        <p:spPr>
          <a:xfrm>
            <a:off x="554736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Class</a:t>
            </a:r>
            <a:endParaRPr lang="en-US" sz="1200" dirty="0"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A03288-F4E0-4BEF-AB17-407321C4B39F}"/>
              </a:ext>
            </a:extLst>
          </p:cNvPr>
          <p:cNvSpPr txBox="1"/>
          <p:nvPr/>
        </p:nvSpPr>
        <p:spPr>
          <a:xfrm>
            <a:off x="4265135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Selected</a:t>
            </a:r>
            <a:endParaRPr lang="en-US" sz="1200" dirty="0"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77ABFD-3267-4B0A-846B-5D02C10B7FFB}"/>
              </a:ext>
            </a:extLst>
          </p:cNvPr>
          <p:cNvGrpSpPr/>
          <p:nvPr/>
        </p:nvGrpSpPr>
        <p:grpSpPr>
          <a:xfrm>
            <a:off x="5717219" y="1333941"/>
            <a:ext cx="4825069" cy="189025"/>
            <a:chOff x="7606487" y="1295512"/>
            <a:chExt cx="2935801" cy="34602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2728313-47B2-4A57-BA62-6C30B4BF4103}"/>
                </a:ext>
              </a:extLst>
            </p:cNvPr>
            <p:cNvSpPr txBox="1"/>
            <p:nvPr/>
          </p:nvSpPr>
          <p:spPr>
            <a:xfrm>
              <a:off x="7606487" y="1295512"/>
              <a:ext cx="2935801" cy="29028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cs typeface="+mn-cs"/>
                </a:rPr>
                <a:t>Rationale</a:t>
              </a:r>
              <a:endParaRPr lang="en-US" sz="1200" dirty="0">
                <a:cs typeface="+mn-cs"/>
              </a:endParaRPr>
            </a:p>
          </p:txBody>
        </p:sp>
        <p:cxnSp>
          <p:nvCxnSpPr>
            <p:cNvPr id="19" name="LineBasicDefault 16">
              <a:extLst>
                <a:ext uri="{FF2B5EF4-FFF2-40B4-BE49-F238E27FC236}">
                  <a16:creationId xmlns:a16="http://schemas.microsoft.com/office/drawing/2014/main" id="{0F9F520E-FB96-4F0E-AE5C-4FA141E9AE8E}"/>
                </a:ext>
              </a:extLst>
            </p:cNvPr>
            <p:cNvCxnSpPr>
              <a:cxnSpLocks/>
            </p:cNvCxnSpPr>
            <p:nvPr>
              <p:custDataLst>
                <p:tags r:id="rId21"/>
              </p:custDataLst>
            </p:nvPr>
          </p:nvCxnSpPr>
          <p:spPr>
            <a:xfrm>
              <a:off x="7606487" y="1641537"/>
              <a:ext cx="2891746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LineBasicDefault 16">
            <a:extLst>
              <a:ext uri="{FF2B5EF4-FFF2-40B4-BE49-F238E27FC236}">
                <a16:creationId xmlns:a16="http://schemas.microsoft.com/office/drawing/2014/main" id="{C1A6A69D-D9AF-4B3E-8D77-006DFFC119CE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65135" y="1526231"/>
            <a:ext cx="1052589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FD9B6A7-2AB2-4B85-A505-8330EA022BBE}"/>
              </a:ext>
            </a:extLst>
          </p:cNvPr>
          <p:cNvSpPr txBox="1"/>
          <p:nvPr/>
        </p:nvSpPr>
        <p:spPr>
          <a:xfrm>
            <a:off x="2136090" y="1336448"/>
            <a:ext cx="2935801" cy="1585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cs typeface="+mn-cs"/>
              </a:rPr>
              <a:t>Algorithm</a:t>
            </a:r>
            <a:endParaRPr lang="en-US" sz="1200" dirty="0"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8CA8BF-992B-482D-9309-0BBCD40646A2}"/>
              </a:ext>
            </a:extLst>
          </p:cNvPr>
          <p:cNvSpPr txBox="1"/>
          <p:nvPr/>
        </p:nvSpPr>
        <p:spPr>
          <a:xfrm>
            <a:off x="5717219" y="159227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Simple algorithm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37CD3E8-DC8F-4D2C-945D-EB16CA860A5F}"/>
              </a:ext>
            </a:extLst>
          </p:cNvPr>
          <p:cNvSpPr txBox="1"/>
          <p:nvPr/>
        </p:nvSpPr>
        <p:spPr>
          <a:xfrm>
            <a:off x="5717219" y="2224301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2CA9ED1-208F-46A1-A82B-03F8D82E9655}"/>
              </a:ext>
            </a:extLst>
          </p:cNvPr>
          <p:cNvSpPr txBox="1">
            <a:spLocks/>
          </p:cNvSpPr>
          <p:nvPr/>
        </p:nvSpPr>
        <p:spPr>
          <a:xfrm>
            <a:off x="2136090" y="2950241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Breadth firs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1F63861-3BF9-4CFE-9AEF-2DD134DB3CBB}"/>
              </a:ext>
            </a:extLst>
          </p:cNvPr>
          <p:cNvSpPr txBox="1">
            <a:spLocks/>
          </p:cNvSpPr>
          <p:nvPr/>
        </p:nvSpPr>
        <p:spPr>
          <a:xfrm>
            <a:off x="2136090" y="3595590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Depth fir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B40FC79-A1EA-4164-9FE8-6D6CCF7DFE83}"/>
              </a:ext>
            </a:extLst>
          </p:cNvPr>
          <p:cNvSpPr txBox="1">
            <a:spLocks/>
          </p:cNvSpPr>
          <p:nvPr/>
        </p:nvSpPr>
        <p:spPr>
          <a:xfrm>
            <a:off x="554736" y="2950241"/>
            <a:ext cx="1485522" cy="2017158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Constructive</a:t>
            </a:r>
          </a:p>
        </p:txBody>
      </p:sp>
      <p:cxnSp>
        <p:nvCxnSpPr>
          <p:cNvPr id="56" name="LineBasicDefault 16">
            <a:extLst>
              <a:ext uri="{FF2B5EF4-FFF2-40B4-BE49-F238E27FC236}">
                <a16:creationId xmlns:a16="http://schemas.microsoft.com/office/drawing/2014/main" id="{6723E393-3A28-47FF-9D79-CEAF30BC0E9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4736" y="4994934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4950D393-4DF4-4964-991B-9FF2B16FA372}"/>
              </a:ext>
            </a:extLst>
          </p:cNvPr>
          <p:cNvSpPr txBox="1"/>
          <p:nvPr/>
        </p:nvSpPr>
        <p:spPr>
          <a:xfrm>
            <a:off x="5717219" y="2982295"/>
            <a:ext cx="4064000" cy="36933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the most </a:t>
            </a:r>
            <a:r>
              <a:rPr lang="en-US" sz="1200" dirty="0" err="1"/>
              <a:t>optmal</a:t>
            </a:r>
            <a:r>
              <a:rPr lang="en-US" sz="1200" dirty="0"/>
              <a:t> solution in the shortest amount of ti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04E7B5-B495-498B-831B-DBAE97A13922}"/>
              </a:ext>
            </a:extLst>
          </p:cNvPr>
          <p:cNvSpPr txBox="1"/>
          <p:nvPr/>
        </p:nvSpPr>
        <p:spPr>
          <a:xfrm>
            <a:off x="5717219" y="3614324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Able to find a quick solu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9EA10C-EDD3-4399-9294-9FDD228C2A52}"/>
              </a:ext>
            </a:extLst>
          </p:cNvPr>
          <p:cNvSpPr txBox="1">
            <a:spLocks/>
          </p:cNvSpPr>
          <p:nvPr/>
        </p:nvSpPr>
        <p:spPr>
          <a:xfrm>
            <a:off x="2136090" y="5042789"/>
            <a:ext cx="1926731" cy="600706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Hill climb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90D15C5-6BE7-4760-9798-5F57F47C057E}"/>
              </a:ext>
            </a:extLst>
          </p:cNvPr>
          <p:cNvSpPr txBox="1">
            <a:spLocks/>
          </p:cNvSpPr>
          <p:nvPr/>
        </p:nvSpPr>
        <p:spPr>
          <a:xfrm>
            <a:off x="2136090" y="5688138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Simulated </a:t>
            </a:r>
            <a:r>
              <a:rPr lang="en-US" sz="1200" b="1" dirty="0" err="1"/>
              <a:t>anealing</a:t>
            </a:r>
            <a:endParaRPr lang="en-US" sz="1200" b="1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291A87A-6D22-4177-ADA8-3CD777F771AA}"/>
              </a:ext>
            </a:extLst>
          </p:cNvPr>
          <p:cNvSpPr txBox="1">
            <a:spLocks/>
          </p:cNvSpPr>
          <p:nvPr/>
        </p:nvSpPr>
        <p:spPr>
          <a:xfrm>
            <a:off x="554736" y="5042789"/>
            <a:ext cx="1485522" cy="1303232"/>
          </a:xfrm>
          <a:prstGeom prst="rect">
            <a:avLst/>
          </a:prstGeom>
          <a:solidFill>
            <a:schemeClr val="accent3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>
                <a:solidFill>
                  <a:schemeClr val="lt1"/>
                </a:solidFill>
              </a:rPr>
              <a:t>Iterative</a:t>
            </a:r>
          </a:p>
        </p:txBody>
      </p:sp>
      <p:cxnSp>
        <p:nvCxnSpPr>
          <p:cNvPr id="63" name="LineBasicDefault 16">
            <a:extLst>
              <a:ext uri="{FF2B5EF4-FFF2-40B4-BE49-F238E27FC236}">
                <a16:creationId xmlns:a16="http://schemas.microsoft.com/office/drawing/2014/main" id="{0FC75AE8-3825-4AC9-BDCF-8392CBE5193F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6375635"/>
            <a:ext cx="9979572" cy="0"/>
          </a:xfrm>
          <a:prstGeom prst="straightConnector1">
            <a:avLst/>
          </a:prstGeom>
          <a:ln w="6350" cap="sq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9A19BDB-0EC0-4DD7-A917-305C63C5583E}"/>
              </a:ext>
            </a:extLst>
          </p:cNvPr>
          <p:cNvSpPr txBox="1">
            <a:spLocks/>
          </p:cNvSpPr>
          <p:nvPr/>
        </p:nvSpPr>
        <p:spPr>
          <a:xfrm>
            <a:off x="5717218" y="5036289"/>
            <a:ext cx="4817089" cy="129360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No clear score of state possible therefore we didn’t use iterative algorithms</a:t>
            </a: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158F2728-6063-445C-8E81-9496CA091A9F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4668008" y="1731830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X 57">
            <a:extLst>
              <a:ext uri="{FF2B5EF4-FFF2-40B4-BE49-F238E27FC236}">
                <a16:creationId xmlns:a16="http://schemas.microsoft.com/office/drawing/2014/main" id="{76419AA2-0111-4FB9-98BF-B38FAD515B51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652495" y="243141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04BC29A-7435-4194-AD25-F7004BDD1554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668008" y="311823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X 57">
            <a:extLst>
              <a:ext uri="{FF2B5EF4-FFF2-40B4-BE49-F238E27FC236}">
                <a16:creationId xmlns:a16="http://schemas.microsoft.com/office/drawing/2014/main" id="{98F37827-7622-436C-A2DF-AAA925F5E6D5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4652495" y="5238501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X 57">
            <a:extLst>
              <a:ext uri="{FF2B5EF4-FFF2-40B4-BE49-F238E27FC236}">
                <a16:creationId xmlns:a16="http://schemas.microsoft.com/office/drawing/2014/main" id="{12E7E387-0F83-414D-A02F-AD8E349B1415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652495" y="5881913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1AEE73F-066F-4DC1-88EB-E203CB23D5B9}"/>
              </a:ext>
            </a:extLst>
          </p:cNvPr>
          <p:cNvSpPr txBox="1">
            <a:spLocks/>
          </p:cNvSpPr>
          <p:nvPr/>
        </p:nvSpPr>
        <p:spPr>
          <a:xfrm>
            <a:off x="2136090" y="4309517"/>
            <a:ext cx="1926731" cy="657883"/>
          </a:xfrm>
          <a:prstGeom prst="rect">
            <a:avLst/>
          </a:prstGeom>
          <a:solidFill>
            <a:schemeClr val="accent4"/>
          </a:solidFill>
        </p:spPr>
        <p:txBody>
          <a:bodyPr vert="horz" lIns="152400" tIns="152400" rIns="152400" bIns="1524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lt1"/>
              </a:buClr>
            </a:pPr>
            <a:r>
              <a:rPr lang="en-US" sz="1200" b="1" dirty="0"/>
              <a:t>Iterative deepe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841E3-6C64-4F1C-BCD2-A88768D5D777}"/>
              </a:ext>
            </a:extLst>
          </p:cNvPr>
          <p:cNvGrpSpPr/>
          <p:nvPr/>
        </p:nvGrpSpPr>
        <p:grpSpPr>
          <a:xfrm>
            <a:off x="4158652" y="2180715"/>
            <a:ext cx="6383635" cy="2103951"/>
            <a:chOff x="4062820" y="2180715"/>
            <a:chExt cx="6479468" cy="2103951"/>
          </a:xfrm>
        </p:grpSpPr>
        <p:cxnSp>
          <p:nvCxnSpPr>
            <p:cNvPr id="32" name="LineBasicDefault 16">
              <a:extLst>
                <a:ext uri="{FF2B5EF4-FFF2-40B4-BE49-F238E27FC236}">
                  <a16:creationId xmlns:a16="http://schemas.microsoft.com/office/drawing/2014/main" id="{212D98E2-446A-43C8-A5EF-895016B7084F}"/>
                </a:ext>
              </a:extLst>
            </p:cNvPr>
            <p:cNvCxnSpPr>
              <a:cxnSpLocks/>
            </p:cNvCxnSpPr>
            <p:nvPr>
              <p:custDataLst>
                <p:tags r:id="rId18"/>
              </p:custDataLst>
            </p:nvPr>
          </p:nvCxnSpPr>
          <p:spPr>
            <a:xfrm>
              <a:off x="4062820" y="2180715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LineBasicDefault 16">
              <a:extLst>
                <a:ext uri="{FF2B5EF4-FFF2-40B4-BE49-F238E27FC236}">
                  <a16:creationId xmlns:a16="http://schemas.microsoft.com/office/drawing/2014/main" id="{B41260FD-9A62-48C2-9057-98BA227BF62F}"/>
                </a:ext>
              </a:extLst>
            </p:cNvPr>
            <p:cNvCxnSpPr>
              <a:cxnSpLocks/>
            </p:cNvCxnSpPr>
            <p:nvPr>
              <p:custDataLst>
                <p:tags r:id="rId19"/>
              </p:custDataLst>
            </p:nvPr>
          </p:nvCxnSpPr>
          <p:spPr>
            <a:xfrm>
              <a:off x="4062820" y="3570738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neBasicDefault 16">
              <a:extLst>
                <a:ext uri="{FF2B5EF4-FFF2-40B4-BE49-F238E27FC236}">
                  <a16:creationId xmlns:a16="http://schemas.microsoft.com/office/drawing/2014/main" id="{6FF7F995-2B4B-4593-BD70-46A11A267D07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>
            <a:xfrm>
              <a:off x="4062820" y="4284666"/>
              <a:ext cx="6479468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prstDash val="dash"/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58C46A6-C7FD-4490-B603-976AD44748E6}"/>
              </a:ext>
            </a:extLst>
          </p:cNvPr>
          <p:cNvSpPr txBox="1"/>
          <p:nvPr/>
        </p:nvSpPr>
        <p:spPr>
          <a:xfrm>
            <a:off x="5717219" y="4328252"/>
            <a:ext cx="4064000" cy="1846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200" dirty="0"/>
              <a:t>?</a:t>
            </a:r>
          </a:p>
        </p:txBody>
      </p:sp>
      <p:sp>
        <p:nvSpPr>
          <p:cNvPr id="79" name="Checkmark 60">
            <a:extLst>
              <a:ext uri="{FF2B5EF4-FFF2-40B4-BE49-F238E27FC236}">
                <a16:creationId xmlns:a16="http://schemas.microsoft.com/office/drawing/2014/main" id="{802205A3-3341-489D-9636-BCAA303F13CD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668008" y="3809122"/>
            <a:ext cx="246842" cy="220098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1" name="X 57">
            <a:extLst>
              <a:ext uri="{FF2B5EF4-FFF2-40B4-BE49-F238E27FC236}">
                <a16:creationId xmlns:a16="http://schemas.microsoft.com/office/drawing/2014/main" id="{11AEB27E-4396-4E5B-B37F-F83F45069814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4652495" y="4525742"/>
            <a:ext cx="277868" cy="238276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7667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DFFBED-8AFE-A94A-9E47-280E4F4B2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algorithm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7B77C65-F00F-A947-B8A3-92E9F913C5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In </a:t>
            </a:r>
            <a:r>
              <a:rPr lang="nl-NL" dirty="0" err="1"/>
              <a:t>terms</a:t>
            </a:r>
            <a:r>
              <a:rPr lang="nl-NL" dirty="0"/>
              <a:t> of </a:t>
            </a:r>
            <a:r>
              <a:rPr lang="nl-NL" dirty="0" err="1"/>
              <a:t>completio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completed</a:t>
            </a:r>
            <a:r>
              <a:rPr lang="nl-NL" dirty="0"/>
              <a:t>: move </a:t>
            </a:r>
            <a:r>
              <a:rPr lang="nl-NL" dirty="0" err="1"/>
              <a:t>count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63B234B-7D73-7847-8104-D1B60E17C7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4E69A52D-05E6-7D49-89DE-4CD050186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626917"/>
              </p:ext>
            </p:extLst>
          </p:nvPr>
        </p:nvGraphicFramePr>
        <p:xfrm>
          <a:off x="531053" y="1217342"/>
          <a:ext cx="9026181" cy="52328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22344">
                  <a:extLst>
                    <a:ext uri="{9D8B030D-6E8A-4147-A177-3AD203B41FA5}">
                      <a16:colId xmlns:a16="http://schemas.microsoft.com/office/drawing/2014/main" val="2889778419"/>
                    </a:ext>
                  </a:extLst>
                </a:gridCol>
                <a:gridCol w="1172862">
                  <a:extLst>
                    <a:ext uri="{9D8B030D-6E8A-4147-A177-3AD203B41FA5}">
                      <a16:colId xmlns:a16="http://schemas.microsoft.com/office/drawing/2014/main" val="346647287"/>
                    </a:ext>
                  </a:extLst>
                </a:gridCol>
                <a:gridCol w="1078354">
                  <a:extLst>
                    <a:ext uri="{9D8B030D-6E8A-4147-A177-3AD203B41FA5}">
                      <a16:colId xmlns:a16="http://schemas.microsoft.com/office/drawing/2014/main" val="758258179"/>
                    </a:ext>
                  </a:extLst>
                </a:gridCol>
                <a:gridCol w="1018890">
                  <a:extLst>
                    <a:ext uri="{9D8B030D-6E8A-4147-A177-3AD203B41FA5}">
                      <a16:colId xmlns:a16="http://schemas.microsoft.com/office/drawing/2014/main" val="1010996293"/>
                    </a:ext>
                  </a:extLst>
                </a:gridCol>
                <a:gridCol w="995388">
                  <a:extLst>
                    <a:ext uri="{9D8B030D-6E8A-4147-A177-3AD203B41FA5}">
                      <a16:colId xmlns:a16="http://schemas.microsoft.com/office/drawing/2014/main" val="4226866904"/>
                    </a:ext>
                  </a:extLst>
                </a:gridCol>
                <a:gridCol w="959193">
                  <a:extLst>
                    <a:ext uri="{9D8B030D-6E8A-4147-A177-3AD203B41FA5}">
                      <a16:colId xmlns:a16="http://schemas.microsoft.com/office/drawing/2014/main" val="1794461153"/>
                    </a:ext>
                  </a:extLst>
                </a:gridCol>
                <a:gridCol w="1040142">
                  <a:extLst>
                    <a:ext uri="{9D8B030D-6E8A-4147-A177-3AD203B41FA5}">
                      <a16:colId xmlns:a16="http://schemas.microsoft.com/office/drawing/2014/main" val="3772921145"/>
                    </a:ext>
                  </a:extLst>
                </a:gridCol>
                <a:gridCol w="1339008">
                  <a:extLst>
                    <a:ext uri="{9D8B030D-6E8A-4147-A177-3AD203B41FA5}">
                      <a16:colId xmlns:a16="http://schemas.microsoft.com/office/drawing/2014/main" val="2157047799"/>
                    </a:ext>
                  </a:extLst>
                </a:gridCol>
              </a:tblGrid>
              <a:tr h="448815">
                <a:tc>
                  <a:txBody>
                    <a:bodyPr/>
                    <a:lstStyle/>
                    <a:p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1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2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6x6_3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4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5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9x9_6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12x12_7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5042049"/>
                  </a:ext>
                </a:extLst>
              </a:tr>
              <a:tr h="956814">
                <a:tc>
                  <a:txBody>
                    <a:bodyPr/>
                    <a:lstStyle/>
                    <a:p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ize</a:t>
                      </a:r>
                      <a:endParaRPr lang="nl-NL" sz="18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0607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932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8390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8842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420462"/>
                  </a:ext>
                </a:extLst>
              </a:tr>
              <a:tr h="956814">
                <a:tc>
                  <a:txBody>
                    <a:bodyPr/>
                    <a:lstStyle/>
                    <a:p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Improved</a:t>
                      </a:r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 random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4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8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52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613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7158925"/>
                  </a:ext>
                </a:extLst>
              </a:tr>
              <a:tr h="956814">
                <a:tc>
                  <a:txBody>
                    <a:bodyPr/>
                    <a:lstStyle/>
                    <a:p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86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46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943</a:t>
                      </a: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tx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734231"/>
                  </a:ext>
                </a:extLst>
              </a:tr>
              <a:tr h="956814">
                <a:tc>
                  <a:txBody>
                    <a:bodyPr/>
                    <a:lstStyle/>
                    <a:p>
                      <a:pPr algn="l"/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Depth-first </a:t>
                      </a:r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randomized</a:t>
                      </a:r>
                      <a:endParaRPr lang="nl-NL" sz="18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  <a:p>
                      <a:pPr algn="l"/>
                      <a:endParaRPr lang="nl-NL" sz="9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256944"/>
                  </a:ext>
                </a:extLst>
              </a:tr>
              <a:tr h="9568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b="0" dirty="0" err="1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Breadth</a:t>
                      </a:r>
                      <a:r>
                        <a:rPr lang="nl-NL" sz="1800" b="0" dirty="0">
                          <a:solidFill>
                            <a:schemeClr val="tx1"/>
                          </a:solidFill>
                          <a:latin typeface="Euphemia" panose="020B0503040102020104" pitchFamily="34" charset="0"/>
                        </a:rPr>
                        <a:t>-first</a:t>
                      </a:r>
                    </a:p>
                    <a:p>
                      <a:pPr algn="l"/>
                      <a:endParaRPr lang="nl-NL" sz="1800" b="0" dirty="0">
                        <a:solidFill>
                          <a:schemeClr val="tx1"/>
                        </a:solidFill>
                        <a:latin typeface="Euphemia" panose="020B05030401020201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3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800" dirty="0">
                          <a:latin typeface="Euphemia" panose="020B0503040102020104" pitchFamily="34" charset="0"/>
                        </a:rPr>
                        <a:t>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nl-NL" sz="1800" dirty="0">
                        <a:latin typeface="Euphemia" panose="020B05030401020201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261926"/>
                  </a:ext>
                </a:extLst>
              </a:tr>
            </a:tbl>
          </a:graphicData>
        </a:graphic>
      </p:graphicFrame>
      <p:sp>
        <p:nvSpPr>
          <p:cNvPr id="37" name="Tekstvak 36">
            <a:extLst>
              <a:ext uri="{FF2B5EF4-FFF2-40B4-BE49-F238E27FC236}">
                <a16:creationId xmlns:a16="http://schemas.microsoft.com/office/drawing/2014/main" id="{8CEA8047-090B-8A47-8EB5-FA8FBBCCA29A}"/>
              </a:ext>
            </a:extLst>
          </p:cNvPr>
          <p:cNvSpPr txBox="1"/>
          <p:nvPr/>
        </p:nvSpPr>
        <p:spPr>
          <a:xfrm>
            <a:off x="10252417" y="2080901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73F50F8F-AE9E-D74C-A169-FF7130258822}"/>
              </a:ext>
            </a:extLst>
          </p:cNvPr>
          <p:cNvSpPr txBox="1"/>
          <p:nvPr/>
        </p:nvSpPr>
        <p:spPr>
          <a:xfrm>
            <a:off x="10252417" y="2686668"/>
            <a:ext cx="1565329" cy="4029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solved</a:t>
            </a:r>
            <a:r>
              <a:rPr lang="nl-NL" sz="1600" dirty="0">
                <a:latin typeface="Euphemia" panose="020B0503040102020104" pitchFamily="34" charset="0"/>
              </a:rPr>
              <a:t> board</a:t>
            </a:r>
          </a:p>
        </p:txBody>
      </p:sp>
      <p:sp>
        <p:nvSpPr>
          <p:cNvPr id="48" name="Actieknop: Help 4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86E8BD0-59BA-9747-9CF1-4EA2EBB1E71C}"/>
              </a:ext>
            </a:extLst>
          </p:cNvPr>
          <p:cNvSpPr/>
          <p:nvPr/>
        </p:nvSpPr>
        <p:spPr>
          <a:xfrm>
            <a:off x="9777183" y="3362827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E0DF4270-BA69-074C-863C-D92459E90743}"/>
              </a:ext>
            </a:extLst>
          </p:cNvPr>
          <p:cNvSpPr txBox="1"/>
          <p:nvPr/>
        </p:nvSpPr>
        <p:spPr>
          <a:xfrm>
            <a:off x="10252417" y="3356387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Unknown</a:t>
            </a:r>
            <a:r>
              <a:rPr lang="nl-NL" sz="1600" dirty="0">
                <a:latin typeface="Euphemia" panose="020B0503040102020104" pitchFamily="34" charset="0"/>
              </a:rPr>
              <a:t> </a:t>
            </a:r>
          </a:p>
        </p:txBody>
      </p:sp>
      <p:sp>
        <p:nvSpPr>
          <p:cNvPr id="39" name="Actieknop: Help 3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6A0F39EB-9F7B-0746-A8DE-C1E9BD304A5F}"/>
              </a:ext>
            </a:extLst>
          </p:cNvPr>
          <p:cNvSpPr/>
          <p:nvPr/>
        </p:nvSpPr>
        <p:spPr>
          <a:xfrm>
            <a:off x="5805609" y="4187806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5" name="Actieknop: Help 44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B338F68C-1E0E-7F48-8C56-A10370387889}"/>
              </a:ext>
            </a:extLst>
          </p:cNvPr>
          <p:cNvSpPr/>
          <p:nvPr/>
        </p:nvSpPr>
        <p:spPr>
          <a:xfrm>
            <a:off x="6809253" y="6128518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6" name="Actieknop: Help 45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24202A08-03F0-8440-A9B7-9F8ACFCC46E2}"/>
              </a:ext>
            </a:extLst>
          </p:cNvPr>
          <p:cNvSpPr/>
          <p:nvPr/>
        </p:nvSpPr>
        <p:spPr>
          <a:xfrm>
            <a:off x="7801474" y="5028351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7" name="Actieknop: Help 46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D14D43F-2666-5842-B24E-BD7990FDDAF2}"/>
              </a:ext>
            </a:extLst>
          </p:cNvPr>
          <p:cNvSpPr/>
          <p:nvPr/>
        </p:nvSpPr>
        <p:spPr>
          <a:xfrm>
            <a:off x="7801475" y="6140936"/>
            <a:ext cx="278969" cy="273512"/>
          </a:xfrm>
          <a:prstGeom prst="actionButtonHelp">
            <a:avLst/>
          </a:prstGeom>
          <a:solidFill>
            <a:srgbClr val="F17B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nl-NL" sz="1600" dirty="0" err="1">
              <a:solidFill>
                <a:schemeClr val="bg1"/>
              </a:solidFill>
            </a:endParaRPr>
          </a:p>
        </p:txBody>
      </p:sp>
      <p:sp>
        <p:nvSpPr>
          <p:cNvPr id="44" name="Checkmark 60">
            <a:extLst>
              <a:ext uri="{FF2B5EF4-FFF2-40B4-BE49-F238E27FC236}">
                <a16:creationId xmlns:a16="http://schemas.microsoft.com/office/drawing/2014/main" id="{70E9718C-ED51-E840-8F40-B23358F8931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28544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3" name="Checkmark 60">
            <a:extLst>
              <a:ext uri="{FF2B5EF4-FFF2-40B4-BE49-F238E27FC236}">
                <a16:creationId xmlns:a16="http://schemas.microsoft.com/office/drawing/2014/main" id="{8F7D57B2-9D1B-0341-B177-C2765903D6F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850941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4" name="Checkmark 60">
            <a:extLst>
              <a:ext uri="{FF2B5EF4-FFF2-40B4-BE49-F238E27FC236}">
                <a16:creationId xmlns:a16="http://schemas.microsoft.com/office/drawing/2014/main" id="{F715EA93-960C-1945-8996-6B39E8123C74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817815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5" name="Checkmark 60">
            <a:extLst>
              <a:ext uri="{FF2B5EF4-FFF2-40B4-BE49-F238E27FC236}">
                <a16:creationId xmlns:a16="http://schemas.microsoft.com/office/drawing/2014/main" id="{37093680-7EC0-B740-90A4-3741C5135D3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708828" y="6096350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6" name="Checkmark 60">
            <a:extLst>
              <a:ext uri="{FF2B5EF4-FFF2-40B4-BE49-F238E27FC236}">
                <a16:creationId xmlns:a16="http://schemas.microsoft.com/office/drawing/2014/main" id="{8273D0CF-7C6A-2949-9749-908B693F8DEA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840900" y="612503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7" name="Checkmark 60">
            <a:extLst>
              <a:ext uri="{FF2B5EF4-FFF2-40B4-BE49-F238E27FC236}">
                <a16:creationId xmlns:a16="http://schemas.microsoft.com/office/drawing/2014/main" id="{96A3839F-6E0A-2145-BC8E-55672D37864C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4861578" y="612999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8" name="Checkmark 60">
            <a:extLst>
              <a:ext uri="{FF2B5EF4-FFF2-40B4-BE49-F238E27FC236}">
                <a16:creationId xmlns:a16="http://schemas.microsoft.com/office/drawing/2014/main" id="{51AF66F6-1FC2-474A-BBA0-5C191AF6257B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5841594" y="612503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9" name="Checkmark 60">
            <a:extLst>
              <a:ext uri="{FF2B5EF4-FFF2-40B4-BE49-F238E27FC236}">
                <a16:creationId xmlns:a16="http://schemas.microsoft.com/office/drawing/2014/main" id="{A278FD3F-B501-FE44-943A-FCA3CC95A200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2718798" y="419047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0" name="Checkmark 60">
            <a:extLst>
              <a:ext uri="{FF2B5EF4-FFF2-40B4-BE49-F238E27FC236}">
                <a16:creationId xmlns:a16="http://schemas.microsoft.com/office/drawing/2014/main" id="{400230C3-DAA4-064A-B522-0CC3B802DCA3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3809666" y="421140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1" name="Checkmark 60">
            <a:extLst>
              <a:ext uri="{FF2B5EF4-FFF2-40B4-BE49-F238E27FC236}">
                <a16:creationId xmlns:a16="http://schemas.microsoft.com/office/drawing/2014/main" id="{295DE101-5EAE-F640-98B4-262DB05479E3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4849222" y="4190472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4" name="Checkmark 60">
            <a:extLst>
              <a:ext uri="{FF2B5EF4-FFF2-40B4-BE49-F238E27FC236}">
                <a16:creationId xmlns:a16="http://schemas.microsoft.com/office/drawing/2014/main" id="{E4553AF9-C952-2D48-A3A0-92975B72C85C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5821479" y="32126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5" name="Checkmark 60">
            <a:extLst>
              <a:ext uri="{FF2B5EF4-FFF2-40B4-BE49-F238E27FC236}">
                <a16:creationId xmlns:a16="http://schemas.microsoft.com/office/drawing/2014/main" id="{06B58959-33E7-B84C-A550-8596A2ECC0D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850941" y="32121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6" name="Checkmark 60">
            <a:extLst>
              <a:ext uri="{FF2B5EF4-FFF2-40B4-BE49-F238E27FC236}">
                <a16:creationId xmlns:a16="http://schemas.microsoft.com/office/drawing/2014/main" id="{9947ADC1-8876-B64F-A632-A5ED617C44B2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3814452" y="32121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7" name="Checkmark 60">
            <a:extLst>
              <a:ext uri="{FF2B5EF4-FFF2-40B4-BE49-F238E27FC236}">
                <a16:creationId xmlns:a16="http://schemas.microsoft.com/office/drawing/2014/main" id="{F495B791-42B3-D94C-8080-A6DC68F280F0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2696472" y="321219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8" name="Checkmark 60">
            <a:extLst>
              <a:ext uri="{FF2B5EF4-FFF2-40B4-BE49-F238E27FC236}">
                <a16:creationId xmlns:a16="http://schemas.microsoft.com/office/drawing/2014/main" id="{A7FEE982-6997-074D-A478-95CCF9F5FC3A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9123954" y="321595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69" name="Checkmark 60">
            <a:extLst>
              <a:ext uri="{FF2B5EF4-FFF2-40B4-BE49-F238E27FC236}">
                <a16:creationId xmlns:a16="http://schemas.microsoft.com/office/drawing/2014/main" id="{ABC1A5EE-B9FA-4843-BD8D-3E5B2B8509F3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7843442" y="3215956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0" name="Checkmark 60">
            <a:extLst>
              <a:ext uri="{FF2B5EF4-FFF2-40B4-BE49-F238E27FC236}">
                <a16:creationId xmlns:a16="http://schemas.microsoft.com/office/drawing/2014/main" id="{ABA24396-45A6-C441-B0CB-22489408D2FF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>
          <a:xfrm>
            <a:off x="6809253" y="3208704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1" name="Checkmark 60">
            <a:extLst>
              <a:ext uri="{FF2B5EF4-FFF2-40B4-BE49-F238E27FC236}">
                <a16:creationId xmlns:a16="http://schemas.microsoft.com/office/drawing/2014/main" id="{2195BB56-2939-424B-87C8-EB9264C34CD8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>
          <a:xfrm>
            <a:off x="9120884" y="229274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2" name="Checkmark 60">
            <a:extLst>
              <a:ext uri="{FF2B5EF4-FFF2-40B4-BE49-F238E27FC236}">
                <a16:creationId xmlns:a16="http://schemas.microsoft.com/office/drawing/2014/main" id="{BECDC01A-C739-434B-BA77-BB81E486EE7D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7843442" y="228883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3" name="Checkmark 60">
            <a:extLst>
              <a:ext uri="{FF2B5EF4-FFF2-40B4-BE49-F238E27FC236}">
                <a16:creationId xmlns:a16="http://schemas.microsoft.com/office/drawing/2014/main" id="{5B93D4B2-3092-E541-964C-D1F2F545F5A1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>
          <a:xfrm>
            <a:off x="6807535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6" name="X 57">
            <a:extLst>
              <a:ext uri="{FF2B5EF4-FFF2-40B4-BE49-F238E27FC236}">
                <a16:creationId xmlns:a16="http://schemas.microsoft.com/office/drawing/2014/main" id="{F899A5BC-2BB8-0A4D-9DC2-363BD2EB5E3E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9120884" y="5032237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7" name="X 57">
            <a:extLst>
              <a:ext uri="{FF2B5EF4-FFF2-40B4-BE49-F238E27FC236}">
                <a16:creationId xmlns:a16="http://schemas.microsoft.com/office/drawing/2014/main" id="{D9780EBC-3301-A54F-9CC0-BA6E22C2061F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>
          <a:xfrm>
            <a:off x="9120883" y="6136290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8" name="X 57">
            <a:extLst>
              <a:ext uri="{FF2B5EF4-FFF2-40B4-BE49-F238E27FC236}">
                <a16:creationId xmlns:a16="http://schemas.microsoft.com/office/drawing/2014/main" id="{0FED93C2-DBA9-D147-9960-D4BAD9770D1D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>
          <a:xfrm>
            <a:off x="9786221" y="2670115"/>
            <a:ext cx="266109" cy="265740"/>
          </a:xfrm>
          <a:custGeom>
            <a:avLst/>
            <a:gdLst/>
            <a:ahLst/>
            <a:cxnLst/>
            <a:rect l="0" t="0" r="0" b="0"/>
            <a:pathLst>
              <a:path w="183805" h="183550">
                <a:moveTo>
                  <a:pt x="182094" y="175600"/>
                </a:moveTo>
                <a:lnTo>
                  <a:pt x="182094" y="175600"/>
                </a:lnTo>
                <a:lnTo>
                  <a:pt x="183804" y="177411"/>
                </a:lnTo>
                <a:lnTo>
                  <a:pt x="183804" y="180429"/>
                </a:lnTo>
                <a:lnTo>
                  <a:pt x="182094" y="182240"/>
                </a:lnTo>
                <a:lnTo>
                  <a:pt x="181189" y="183146"/>
                </a:lnTo>
                <a:lnTo>
                  <a:pt x="179982" y="183549"/>
                </a:lnTo>
                <a:lnTo>
                  <a:pt x="178776" y="183549"/>
                </a:lnTo>
                <a:lnTo>
                  <a:pt x="177569" y="183549"/>
                </a:lnTo>
                <a:lnTo>
                  <a:pt x="176362" y="183146"/>
                </a:lnTo>
                <a:lnTo>
                  <a:pt x="175457" y="182240"/>
                </a:lnTo>
                <a:lnTo>
                  <a:pt x="91903" y="98517"/>
                </a:lnTo>
                <a:lnTo>
                  <a:pt x="91903" y="98517"/>
                </a:lnTo>
                <a:lnTo>
                  <a:pt x="91903" y="98517"/>
                </a:lnTo>
                <a:lnTo>
                  <a:pt x="8345" y="182240"/>
                </a:lnTo>
                <a:lnTo>
                  <a:pt x="8345" y="182240"/>
                </a:lnTo>
                <a:lnTo>
                  <a:pt x="8345" y="182240"/>
                </a:lnTo>
                <a:lnTo>
                  <a:pt x="7441" y="183146"/>
                </a:lnTo>
                <a:lnTo>
                  <a:pt x="6235" y="183549"/>
                </a:lnTo>
                <a:lnTo>
                  <a:pt x="5027" y="183549"/>
                </a:lnTo>
                <a:lnTo>
                  <a:pt x="3822" y="183549"/>
                </a:lnTo>
                <a:lnTo>
                  <a:pt x="2614" y="183146"/>
                </a:lnTo>
                <a:lnTo>
                  <a:pt x="1708" y="182240"/>
                </a:lnTo>
                <a:lnTo>
                  <a:pt x="0" y="180429"/>
                </a:lnTo>
                <a:lnTo>
                  <a:pt x="0" y="177411"/>
                </a:lnTo>
                <a:lnTo>
                  <a:pt x="1708" y="175600"/>
                </a:lnTo>
                <a:lnTo>
                  <a:pt x="85366" y="91976"/>
                </a:lnTo>
                <a:lnTo>
                  <a:pt x="85366" y="91976"/>
                </a:lnTo>
                <a:lnTo>
                  <a:pt x="85366" y="91976"/>
                </a:lnTo>
                <a:lnTo>
                  <a:pt x="1708" y="8353"/>
                </a:lnTo>
                <a:lnTo>
                  <a:pt x="1708" y="8353"/>
                </a:lnTo>
                <a:lnTo>
                  <a:pt x="1708" y="8353"/>
                </a:lnTo>
                <a:lnTo>
                  <a:pt x="0" y="6542"/>
                </a:lnTo>
                <a:lnTo>
                  <a:pt x="0" y="3523"/>
                </a:lnTo>
                <a:lnTo>
                  <a:pt x="1708" y="1713"/>
                </a:lnTo>
                <a:lnTo>
                  <a:pt x="3520" y="0"/>
                </a:lnTo>
                <a:lnTo>
                  <a:pt x="6536" y="0"/>
                </a:lnTo>
                <a:lnTo>
                  <a:pt x="8345" y="1713"/>
                </a:lnTo>
                <a:lnTo>
                  <a:pt x="91903" y="85435"/>
                </a:lnTo>
                <a:lnTo>
                  <a:pt x="91903" y="85435"/>
                </a:lnTo>
                <a:lnTo>
                  <a:pt x="91903" y="85435"/>
                </a:lnTo>
                <a:lnTo>
                  <a:pt x="175457" y="1713"/>
                </a:lnTo>
                <a:lnTo>
                  <a:pt x="175457" y="1713"/>
                </a:lnTo>
                <a:lnTo>
                  <a:pt x="175457" y="1713"/>
                </a:lnTo>
                <a:lnTo>
                  <a:pt x="177267" y="0"/>
                </a:lnTo>
                <a:lnTo>
                  <a:pt x="180284" y="0"/>
                </a:lnTo>
                <a:lnTo>
                  <a:pt x="182094" y="1713"/>
                </a:lnTo>
                <a:lnTo>
                  <a:pt x="183804" y="3523"/>
                </a:lnTo>
                <a:lnTo>
                  <a:pt x="183804" y="6542"/>
                </a:lnTo>
                <a:lnTo>
                  <a:pt x="182094" y="8353"/>
                </a:lnTo>
                <a:lnTo>
                  <a:pt x="98437" y="91976"/>
                </a:lnTo>
                <a:lnTo>
                  <a:pt x="98437" y="91976"/>
                </a:lnTo>
                <a:lnTo>
                  <a:pt x="98437" y="91976"/>
                </a:lnTo>
                <a:close/>
              </a:path>
            </a:pathLst>
          </a:custGeom>
          <a:solidFill>
            <a:schemeClr val="accent1"/>
          </a:solidFill>
          <a:ln w="38100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89" name="Checkmark 60">
            <a:extLst>
              <a:ext uri="{FF2B5EF4-FFF2-40B4-BE49-F238E27FC236}">
                <a16:creationId xmlns:a16="http://schemas.microsoft.com/office/drawing/2014/main" id="{8829378F-2510-894F-9446-367C360A86FE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9771444" y="2061285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E5AA4892-86F8-9045-BF09-141A11670266}"/>
              </a:ext>
            </a:extLst>
          </p:cNvPr>
          <p:cNvSpPr txBox="1"/>
          <p:nvPr/>
        </p:nvSpPr>
        <p:spPr>
          <a:xfrm>
            <a:off x="2778844" y="2718566"/>
            <a:ext cx="566047" cy="30889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1984A1BE-B1F4-0145-B152-63999E0B3D06}"/>
              </a:ext>
            </a:extLst>
          </p:cNvPr>
          <p:cNvSpPr txBox="1"/>
          <p:nvPr/>
        </p:nvSpPr>
        <p:spPr>
          <a:xfrm>
            <a:off x="1964724" y="1874237"/>
            <a:ext cx="1221784" cy="7958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1600" dirty="0"/>
          </a:p>
        </p:txBody>
      </p:sp>
      <p:sp>
        <p:nvSpPr>
          <p:cNvPr id="42" name="Checkmark 60">
            <a:extLst>
              <a:ext uri="{FF2B5EF4-FFF2-40B4-BE49-F238E27FC236}">
                <a16:creationId xmlns:a16="http://schemas.microsoft.com/office/drawing/2014/main" id="{8C57E0A0-E07F-8D49-8AB3-190C1918702C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2721185" y="228543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pic>
        <p:nvPicPr>
          <p:cNvPr id="13" name="Graphic 12" descr="Opwaartse trend">
            <a:extLst>
              <a:ext uri="{FF2B5EF4-FFF2-40B4-BE49-F238E27FC236}">
                <a16:creationId xmlns:a16="http://schemas.microsoft.com/office/drawing/2014/main" id="{AB16132E-1177-A640-80EC-095CA96031B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708948" y="3841490"/>
            <a:ext cx="415438" cy="415438"/>
          </a:xfrm>
          <a:prstGeom prst="rect">
            <a:avLst/>
          </a:prstGeom>
        </p:spPr>
      </p:pic>
      <p:sp>
        <p:nvSpPr>
          <p:cNvPr id="49" name="Tekstvak 48">
            <a:extLst>
              <a:ext uri="{FF2B5EF4-FFF2-40B4-BE49-F238E27FC236}">
                <a16:creationId xmlns:a16="http://schemas.microsoft.com/office/drawing/2014/main" id="{4D3E4467-8881-9F4A-A497-20B07C50739B}"/>
              </a:ext>
            </a:extLst>
          </p:cNvPr>
          <p:cNvSpPr txBox="1"/>
          <p:nvPr/>
        </p:nvSpPr>
        <p:spPr>
          <a:xfrm>
            <a:off x="10252417" y="3900084"/>
            <a:ext cx="1394848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dirty="0" err="1">
                <a:latin typeface="Euphemia" panose="020B0503040102020104" pitchFamily="34" charset="0"/>
              </a:rPr>
              <a:t>Average</a:t>
            </a:r>
            <a:r>
              <a:rPr lang="nl-NL" sz="1600" dirty="0">
                <a:latin typeface="Euphemia" panose="020B0503040102020104" pitchFamily="34" charset="0"/>
              </a:rPr>
              <a:t> 100x </a:t>
            </a:r>
          </a:p>
        </p:txBody>
      </p:sp>
      <p:pic>
        <p:nvPicPr>
          <p:cNvPr id="51" name="Graphic 50" descr="Opwaartse trend">
            <a:extLst>
              <a:ext uri="{FF2B5EF4-FFF2-40B4-BE49-F238E27FC236}">
                <a16:creationId xmlns:a16="http://schemas.microsoft.com/office/drawing/2014/main" id="{D210987F-8D6B-4742-9963-37D6DC88CC28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646841" y="2353311"/>
            <a:ext cx="271878" cy="271878"/>
          </a:xfrm>
          <a:prstGeom prst="rect">
            <a:avLst/>
          </a:prstGeom>
        </p:spPr>
      </p:pic>
      <p:pic>
        <p:nvPicPr>
          <p:cNvPr id="63" name="Graphic 62" descr="Opwaartse trend">
            <a:extLst>
              <a:ext uri="{FF2B5EF4-FFF2-40B4-BE49-F238E27FC236}">
                <a16:creationId xmlns:a16="http://schemas.microsoft.com/office/drawing/2014/main" id="{EF3B70AB-3E01-EA44-A734-E444570E1A80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645907" y="3298499"/>
            <a:ext cx="271878" cy="271878"/>
          </a:xfrm>
          <a:prstGeom prst="rect">
            <a:avLst/>
          </a:prstGeom>
        </p:spPr>
      </p:pic>
      <p:pic>
        <p:nvPicPr>
          <p:cNvPr id="74" name="Graphic 73" descr="Opwaartse trend">
            <a:extLst>
              <a:ext uri="{FF2B5EF4-FFF2-40B4-BE49-F238E27FC236}">
                <a16:creationId xmlns:a16="http://schemas.microsoft.com/office/drawing/2014/main" id="{894A45A2-7324-8447-8E11-D1E4F99150A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670620" y="5213797"/>
            <a:ext cx="271878" cy="271878"/>
          </a:xfrm>
          <a:prstGeom prst="rect">
            <a:avLst/>
          </a:prstGeom>
        </p:spPr>
      </p:pic>
      <p:sp>
        <p:nvSpPr>
          <p:cNvPr id="75" name="Checkmark 60">
            <a:extLst>
              <a:ext uri="{FF2B5EF4-FFF2-40B4-BE49-F238E27FC236}">
                <a16:creationId xmlns:a16="http://schemas.microsoft.com/office/drawing/2014/main" id="{E3B0B45F-6B90-2E4E-9EBE-2FAE5C3E9005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2747628" y="5146068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6" name="Checkmark 60">
            <a:extLst>
              <a:ext uri="{FF2B5EF4-FFF2-40B4-BE49-F238E27FC236}">
                <a16:creationId xmlns:a16="http://schemas.microsoft.com/office/drawing/2014/main" id="{52F1541B-5731-064D-9BA3-9E454083CCC2}"/>
              </a:ext>
            </a:extLst>
          </p:cNvPr>
          <p:cNvSpPr>
            <a:spLocks noChangeAspect="1"/>
          </p:cNvSpPr>
          <p:nvPr>
            <p:custDataLst>
              <p:tags r:id="rId27"/>
            </p:custDataLst>
          </p:nvPr>
        </p:nvSpPr>
        <p:spPr>
          <a:xfrm>
            <a:off x="3838496" y="5167003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7" name="Checkmark 60">
            <a:extLst>
              <a:ext uri="{FF2B5EF4-FFF2-40B4-BE49-F238E27FC236}">
                <a16:creationId xmlns:a16="http://schemas.microsoft.com/office/drawing/2014/main" id="{006457F9-2665-E449-85AA-6B777FA6C520}"/>
              </a:ext>
            </a:extLst>
          </p:cNvPr>
          <p:cNvSpPr>
            <a:spLocks noChangeAspect="1"/>
          </p:cNvSpPr>
          <p:nvPr>
            <p:custDataLst>
              <p:tags r:id="rId28"/>
            </p:custDataLst>
          </p:nvPr>
        </p:nvSpPr>
        <p:spPr>
          <a:xfrm>
            <a:off x="4878052" y="5146067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78" name="Checkmark 60">
            <a:extLst>
              <a:ext uri="{FF2B5EF4-FFF2-40B4-BE49-F238E27FC236}">
                <a16:creationId xmlns:a16="http://schemas.microsoft.com/office/drawing/2014/main" id="{F2DC311A-6870-EB4D-9748-0708F6582DDD}"/>
              </a:ext>
            </a:extLst>
          </p:cNvPr>
          <p:cNvSpPr>
            <a:spLocks noChangeAspect="1"/>
          </p:cNvSpPr>
          <p:nvPr>
            <p:custDataLst>
              <p:tags r:id="rId29"/>
            </p:custDataLst>
          </p:nvPr>
        </p:nvSpPr>
        <p:spPr>
          <a:xfrm>
            <a:off x="5846644" y="5114451"/>
            <a:ext cx="266763" cy="276999"/>
          </a:xfrm>
          <a:custGeom>
            <a:avLst/>
            <a:gdLst/>
            <a:ahLst/>
            <a:cxnLst/>
            <a:rect l="0" t="0" r="0" b="0"/>
            <a:pathLst>
              <a:path w="176263" h="183026">
                <a:moveTo>
                  <a:pt x="66335" y="183025"/>
                </a:moveTo>
                <a:lnTo>
                  <a:pt x="65208" y="183025"/>
                </a:lnTo>
                <a:lnTo>
                  <a:pt x="64121" y="182624"/>
                </a:lnTo>
                <a:lnTo>
                  <a:pt x="63276" y="181858"/>
                </a:lnTo>
                <a:lnTo>
                  <a:pt x="2093" y="127518"/>
                </a:lnTo>
                <a:lnTo>
                  <a:pt x="201" y="125827"/>
                </a:lnTo>
                <a:lnTo>
                  <a:pt x="0" y="122889"/>
                </a:lnTo>
                <a:lnTo>
                  <a:pt x="1691" y="120997"/>
                </a:lnTo>
                <a:lnTo>
                  <a:pt x="3381" y="119065"/>
                </a:lnTo>
                <a:lnTo>
                  <a:pt x="6319" y="118904"/>
                </a:lnTo>
                <a:lnTo>
                  <a:pt x="8211" y="120596"/>
                </a:lnTo>
                <a:lnTo>
                  <a:pt x="65248" y="171230"/>
                </a:lnTo>
                <a:lnTo>
                  <a:pt x="167004" y="2898"/>
                </a:lnTo>
                <a:lnTo>
                  <a:pt x="168332" y="725"/>
                </a:lnTo>
                <a:lnTo>
                  <a:pt x="171190" y="0"/>
                </a:lnTo>
                <a:lnTo>
                  <a:pt x="173364" y="1329"/>
                </a:lnTo>
                <a:lnTo>
                  <a:pt x="175537" y="2657"/>
                </a:lnTo>
                <a:lnTo>
                  <a:pt x="176262" y="5514"/>
                </a:lnTo>
                <a:lnTo>
                  <a:pt x="174933" y="7687"/>
                </a:lnTo>
                <a:lnTo>
                  <a:pt x="70279" y="180811"/>
                </a:lnTo>
                <a:lnTo>
                  <a:pt x="69555" y="181978"/>
                </a:lnTo>
                <a:lnTo>
                  <a:pt x="68387" y="182784"/>
                </a:lnTo>
                <a:lnTo>
                  <a:pt x="67020" y="182986"/>
                </a:lnTo>
                <a:lnTo>
                  <a:pt x="66777" y="183025"/>
                </a:lnTo>
                <a:lnTo>
                  <a:pt x="66576" y="183025"/>
                </a:lnTo>
                <a:close/>
              </a:path>
            </a:pathLst>
          </a:custGeom>
          <a:solidFill>
            <a:schemeClr val="accent1"/>
          </a:solidFill>
          <a:ln w="57150" cap="sq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8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4176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87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24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Random algorithm is able to give a valid solution for first 6 gam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Efficiency very low </a:t>
            </a:r>
            <a:r>
              <a:rPr lang="en-US" sz="1400" dirty="0">
                <a:latin typeface="Euphemia" panose="020B0503040102020104" pitchFamily="34" charset="0"/>
              </a:rPr>
              <a:t> algorithm does a lot of similar steps</a:t>
            </a:r>
            <a:endParaRPr lang="en-US" sz="1400" b="1" dirty="0">
              <a:latin typeface="Euphemia" panose="020B0503040102020104" pitchFamily="34" charset="0"/>
            </a:endParaRPr>
          </a:p>
          <a:p>
            <a:pPr lvl="1">
              <a:spcAft>
                <a:spcPts val="600"/>
              </a:spcAft>
            </a:pPr>
            <a:r>
              <a:rPr lang="en-US" sz="1400" b="1" dirty="0">
                <a:latin typeface="Euphemia" panose="020B0503040102020104" pitchFamily="34" charset="0"/>
              </a:rPr>
              <a:t>Room for improvement</a:t>
            </a:r>
          </a:p>
          <a:p>
            <a:pPr lvl="2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Check for win is not efficien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713298" y="4904284"/>
            <a:ext cx="215951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all the car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796575" y="2272904"/>
            <a:ext cx="215951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3056035" y="2547378"/>
            <a:ext cx="2560187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3056039" y="2547375"/>
            <a:ext cx="2560183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3053168" y="2550844"/>
            <a:ext cx="2560186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520273"/>
            <a:ext cx="227774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7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75B3ACA5-822D-4DD8-AD27-A01FCB8923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75B3ACA5-822D-4DD8-AD27-A01FCB892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B38CA918-E19D-4D77-A525-FB7769A34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71047"/>
            <a:ext cx="11082528" cy="731520"/>
          </a:xfrm>
        </p:spPr>
        <p:txBody>
          <a:bodyPr/>
          <a:lstStyle/>
          <a:p>
            <a:r>
              <a:rPr lang="en-US" dirty="0"/>
              <a:t>Rand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dvanced </a:t>
            </a:r>
            <a:r>
              <a:rPr lang="en-US" dirty="0"/>
              <a:t>algorithm met </a:t>
            </a:r>
            <a:r>
              <a:rPr lang="en-US" dirty="0" err="1"/>
              <a:t>heuristiek</a:t>
            </a:r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5B12E0-FA5E-4CD7-B72F-2A27D420855C}"/>
              </a:ext>
            </a:extLst>
          </p:cNvPr>
          <p:cNvSpPr txBox="1"/>
          <p:nvPr/>
        </p:nvSpPr>
        <p:spPr>
          <a:xfrm>
            <a:off x="8877300" y="1874236"/>
            <a:ext cx="2102894" cy="4206523"/>
          </a:xfrm>
          <a:prstGeom prst="rect">
            <a:avLst/>
          </a:prstGeom>
        </p:spPr>
        <p:txBody>
          <a:bodyPr vert="horz" wrap="square" lIns="27432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s expected to need </a:t>
            </a:r>
            <a:r>
              <a:rPr lang="en-US" sz="1400" u="sng" dirty="0">
                <a:latin typeface="Euphemia" panose="020B0503040102020104" pitchFamily="34" charset="0"/>
              </a:rPr>
              <a:t>more time </a:t>
            </a:r>
            <a:r>
              <a:rPr lang="en-US" sz="1400" dirty="0">
                <a:latin typeface="Euphemia" panose="020B0503040102020104" pitchFamily="34" charset="0"/>
              </a:rPr>
              <a:t>for the extra steps</a:t>
            </a:r>
          </a:p>
          <a:p>
            <a:pPr lvl="1">
              <a:spcAft>
                <a:spcPts val="600"/>
              </a:spcAft>
            </a:pPr>
            <a:r>
              <a:rPr lang="en-US" sz="1400" dirty="0">
                <a:latin typeface="Euphemia" panose="020B0503040102020104" pitchFamily="34" charset="0"/>
              </a:rPr>
              <a:t>It surely doesn’t find the optimal solution</a:t>
            </a:r>
          </a:p>
          <a:p>
            <a:pPr lvl="1">
              <a:spcAft>
                <a:spcPts val="600"/>
              </a:spcAft>
            </a:pPr>
            <a:endParaRPr lang="en-US" sz="1400" b="1" dirty="0">
              <a:latin typeface="Euphemia" panose="020B0503040102020104" pitchFamily="34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30B89E3-22B5-43D6-A017-09A9645E64E8}"/>
              </a:ext>
            </a:extLst>
          </p:cNvPr>
          <p:cNvCxnSpPr/>
          <p:nvPr/>
        </p:nvCxnSpPr>
        <p:spPr>
          <a:xfrm>
            <a:off x="8877300" y="1874236"/>
            <a:ext cx="0" cy="4206523"/>
          </a:xfrm>
          <a:prstGeom prst="straightConnector1">
            <a:avLst/>
          </a:prstGeom>
          <a:ln w="190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neBasicDefault 16">
            <a:extLst>
              <a:ext uri="{FF2B5EF4-FFF2-40B4-BE49-F238E27FC236}">
                <a16:creationId xmlns:a16="http://schemas.microsoft.com/office/drawing/2014/main" id="{F4925639-E01F-42AD-B670-FDCEA9494274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65988" y="1737360"/>
            <a:ext cx="8091355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16">
            <a:extLst>
              <a:ext uri="{FF2B5EF4-FFF2-40B4-BE49-F238E27FC236}">
                <a16:creationId xmlns:a16="http://schemas.microsoft.com/office/drawing/2014/main" id="{AB9CC399-DFF5-489B-AAB0-4071CA65DC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9121140" y="1737360"/>
            <a:ext cx="2926877" cy="0"/>
          </a:xfrm>
          <a:prstGeom prst="straightConnector1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CustomIcon">
            <a:extLst>
              <a:ext uri="{FF2B5EF4-FFF2-40B4-BE49-F238E27FC236}">
                <a16:creationId xmlns:a16="http://schemas.microsoft.com/office/drawing/2014/main" id="{F6F531E7-40C5-4AAC-A974-4BF691696D1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41065" y="5102149"/>
            <a:ext cx="609600" cy="609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309EDE-AEC1-4122-A2E6-3715A7DF5F5C}"/>
              </a:ext>
            </a:extLst>
          </p:cNvPr>
          <p:cNvSpPr txBox="1"/>
          <p:nvPr/>
        </p:nvSpPr>
        <p:spPr>
          <a:xfrm>
            <a:off x="5694647" y="4543762"/>
            <a:ext cx="2159519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move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the list </a:t>
            </a:r>
            <a:r>
              <a:rPr lang="en-US" u="sng" dirty="0">
                <a:latin typeface="Euphemia" panose="020B0503040102020104" pitchFamily="34" charset="0"/>
                <a:cs typeface="+mn-cs"/>
              </a:rPr>
              <a:t>[-1, 1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If the same car is moved multiple times in a row, this is seen as one mo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7A99D3-649D-4221-846B-C360932741CF}"/>
              </a:ext>
            </a:extLst>
          </p:cNvPr>
          <p:cNvSpPr txBox="1"/>
          <p:nvPr/>
        </p:nvSpPr>
        <p:spPr>
          <a:xfrm>
            <a:off x="5713298" y="2272904"/>
            <a:ext cx="2447722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Pick a random car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From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the moveable ca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51DF6-DD4F-4153-99FF-DD5CCA4CE92B}"/>
              </a:ext>
            </a:extLst>
          </p:cNvPr>
          <p:cNvSpPr txBox="1"/>
          <p:nvPr/>
        </p:nvSpPr>
        <p:spPr>
          <a:xfrm>
            <a:off x="959155" y="1956273"/>
            <a:ext cx="1996939" cy="12926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Check if won </a:t>
            </a:r>
            <a:endParaRPr lang="en-US" b="1" dirty="0">
              <a:latin typeface="Euphemia" panose="020B0503040102020104" pitchFamily="34" charset="0"/>
              <a:cs typeface="+mn-cs"/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Continue if not won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  <a:cs typeface="+mn-cs"/>
              </a:rPr>
              <a:t>By checking if no other car is blocking the X c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991773-1791-4E75-A418-A78A26FCE1CF}"/>
              </a:ext>
            </a:extLst>
          </p:cNvPr>
          <p:cNvSpPr txBox="1"/>
          <p:nvPr/>
        </p:nvSpPr>
        <p:spPr>
          <a:xfrm>
            <a:off x="1054615" y="4904284"/>
            <a:ext cx="190147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Input the move in the game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Euphemia" panose="020B0503040102020104" pitchFamily="34" charset="0"/>
                <a:cs typeface="+mn-cs"/>
              </a:rPr>
              <a:t>If possible perform the move</a:t>
            </a: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0C8594D0-8D84-49D5-88C1-9338DB081BF4}"/>
              </a:ext>
            </a:extLst>
          </p:cNvPr>
          <p:cNvSpPr/>
          <p:nvPr/>
        </p:nvSpPr>
        <p:spPr>
          <a:xfrm rot="16200000">
            <a:off x="2969908" y="2663029"/>
            <a:ext cx="2732445" cy="2542427"/>
          </a:xfrm>
          <a:prstGeom prst="arc">
            <a:avLst>
              <a:gd name="adj1" fmla="val 16591666"/>
              <a:gd name="adj2" fmla="val 21204306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E00F59AC-5B07-4271-9CD3-6FF78EBDA4ED}"/>
              </a:ext>
            </a:extLst>
          </p:cNvPr>
          <p:cNvSpPr/>
          <p:nvPr/>
        </p:nvSpPr>
        <p:spPr>
          <a:xfrm rot="5400000">
            <a:off x="2969908" y="2492835"/>
            <a:ext cx="2732442" cy="2542427"/>
          </a:xfrm>
          <a:prstGeom prst="arc">
            <a:avLst>
              <a:gd name="adj1" fmla="val 16596109"/>
              <a:gd name="adj2" fmla="val 21193407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Arc 54">
            <a:extLst>
              <a:ext uri="{FF2B5EF4-FFF2-40B4-BE49-F238E27FC236}">
                <a16:creationId xmlns:a16="http://schemas.microsoft.com/office/drawing/2014/main" id="{0B649FF2-FF7C-471D-8624-8286B34BE919}"/>
              </a:ext>
            </a:extLst>
          </p:cNvPr>
          <p:cNvSpPr/>
          <p:nvPr/>
        </p:nvSpPr>
        <p:spPr>
          <a:xfrm rot="16200000">
            <a:off x="2969911" y="2492834"/>
            <a:ext cx="2732440" cy="2542427"/>
          </a:xfrm>
          <a:prstGeom prst="arc">
            <a:avLst>
              <a:gd name="adj1" fmla="val 11194517"/>
              <a:gd name="adj2" fmla="val 15800478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3AE8152-0715-4376-ACEF-3C9961886881}"/>
              </a:ext>
            </a:extLst>
          </p:cNvPr>
          <p:cNvSpPr/>
          <p:nvPr/>
        </p:nvSpPr>
        <p:spPr>
          <a:xfrm rot="5400000">
            <a:off x="2967038" y="2666499"/>
            <a:ext cx="2732443" cy="2542427"/>
          </a:xfrm>
          <a:prstGeom prst="arc">
            <a:avLst>
              <a:gd name="adj1" fmla="val 11189150"/>
              <a:gd name="adj2" fmla="val 15796120"/>
            </a:avLst>
          </a:prstGeom>
          <a:ln w="12700" cap="flat">
            <a:solidFill>
              <a:schemeClr val="tx1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id="{F62B9A23-52C2-44A7-A860-2E9089B49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7260" y="3366385"/>
            <a:ext cx="227774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0" rIns="18288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30"/>
            <a:r>
              <a:rPr lang="en-US" sz="2000" b="1" dirty="0">
                <a:latin typeface="Euphemia" panose="020B0503040102020104" pitchFamily="34" charset="0"/>
              </a:rPr>
              <a:t>Random</a:t>
            </a:r>
          </a:p>
          <a:p>
            <a:pPr algn="ctr" defTabSz="677830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  <a:latin typeface="Euphemia" panose="020B0503040102020104" pitchFamily="34" charset="0"/>
              </a:rPr>
              <a:t>advanced</a:t>
            </a:r>
            <a:r>
              <a:rPr lang="en-US" sz="2000" b="1" dirty="0">
                <a:latin typeface="Euphemia" panose="020B0503040102020104" pitchFamily="34" charset="0"/>
              </a:rPr>
              <a:t> algorithm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09CA70E-0BFB-4576-B6AC-970DF4C5A397}"/>
              </a:ext>
            </a:extLst>
          </p:cNvPr>
          <p:cNvSpPr>
            <a:spLocks noChangeAspect="1"/>
          </p:cNvSpPr>
          <p:nvPr/>
        </p:nvSpPr>
        <p:spPr>
          <a:xfrm>
            <a:off x="5105274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1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C8E9AB5-0E74-46D6-96FB-A2283C63514A}"/>
              </a:ext>
            </a:extLst>
          </p:cNvPr>
          <p:cNvSpPr>
            <a:spLocks noChangeAspect="1"/>
          </p:cNvSpPr>
          <p:nvPr/>
        </p:nvSpPr>
        <p:spPr>
          <a:xfrm>
            <a:off x="5105274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79E6F23-E7CC-4225-BC92-5124DB1E9301}"/>
              </a:ext>
            </a:extLst>
          </p:cNvPr>
          <p:cNvSpPr>
            <a:spLocks noChangeAspect="1"/>
          </p:cNvSpPr>
          <p:nvPr/>
        </p:nvSpPr>
        <p:spPr>
          <a:xfrm>
            <a:off x="3317078" y="2533779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4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152A6C9-DF5D-4B9B-872F-1C5629F57FDD}"/>
              </a:ext>
            </a:extLst>
          </p:cNvPr>
          <p:cNvSpPr>
            <a:spLocks noChangeAspect="1"/>
          </p:cNvSpPr>
          <p:nvPr/>
        </p:nvSpPr>
        <p:spPr>
          <a:xfrm>
            <a:off x="3317078" y="4819031"/>
            <a:ext cx="245147" cy="311236"/>
          </a:xfrm>
          <a:prstGeom prst="ellipse">
            <a:avLst/>
          </a:prstGeom>
          <a:solidFill>
            <a:schemeClr val="accent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Euphemia" panose="020B0503040102020104" pitchFamily="34" charset="0"/>
              </a:rPr>
              <a:t>3</a:t>
            </a: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C26A6654-519D-430B-A6CE-5E3916E886D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099452" y="2307703"/>
            <a:ext cx="551213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2F98A230-1ADA-4899-A2FA-26EF9949CF5C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66427" y="2297511"/>
            <a:ext cx="551213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E0F17016-5979-423F-A54B-B4B0D1C3AE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20969" y="5153482"/>
            <a:ext cx="551213" cy="609600"/>
          </a:xfrm>
          <a:prstGeom prst="rect">
            <a:avLst/>
          </a:prstGeom>
        </p:spPr>
      </p:pic>
      <p:sp>
        <p:nvSpPr>
          <p:cNvPr id="34" name="Arrow: Chevron 33">
            <a:extLst>
              <a:ext uri="{FF2B5EF4-FFF2-40B4-BE49-F238E27FC236}">
                <a16:creationId xmlns:a16="http://schemas.microsoft.com/office/drawing/2014/main" id="{DCF0AFE2-1835-43B0-8B98-D870BE197EA4}"/>
              </a:ext>
            </a:extLst>
          </p:cNvPr>
          <p:cNvSpPr/>
          <p:nvPr/>
        </p:nvSpPr>
        <p:spPr>
          <a:xfrm>
            <a:off x="8693658" y="1554480"/>
            <a:ext cx="484632" cy="484632"/>
          </a:xfrm>
          <a:prstGeom prst="chevron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311C0134-3EA8-419D-87C2-A470E6C22F45}"/>
              </a:ext>
            </a:extLst>
          </p:cNvPr>
          <p:cNvSpPr/>
          <p:nvPr/>
        </p:nvSpPr>
        <p:spPr>
          <a:xfrm>
            <a:off x="8686799" y="1638620"/>
            <a:ext cx="343341" cy="343341"/>
          </a:xfrm>
          <a:prstGeom prst="chevron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61B0A76-DB79-43E6-8B69-6E5DF5392E7B}"/>
              </a:ext>
            </a:extLst>
          </p:cNvPr>
          <p:cNvSpPr txBox="1"/>
          <p:nvPr/>
        </p:nvSpPr>
        <p:spPr>
          <a:xfrm>
            <a:off x="565988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Description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3E8F0F-60D2-4D9E-BE1B-CAC410FB8A47}"/>
              </a:ext>
            </a:extLst>
          </p:cNvPr>
          <p:cNvSpPr txBox="1"/>
          <p:nvPr/>
        </p:nvSpPr>
        <p:spPr>
          <a:xfrm>
            <a:off x="9167230" y="1395084"/>
            <a:ext cx="244772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Euphemia" panose="020B0503040102020104" pitchFamily="34" charset="0"/>
                <a:cs typeface="+mn-cs"/>
              </a:rPr>
              <a:t>Take-aways</a:t>
            </a:r>
            <a:endParaRPr lang="en-US" dirty="0">
              <a:latin typeface="Euphemia" panose="020B05030401020201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595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19-11-01 10:40 A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lc7ajwLYcU5YeJC_YZ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gmen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Bulle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UKWTuKq6zfHRuH23G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10v7slE9D49RQMszGq8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ckmark"/>
  <p:tag name="NAME" val="Checkmark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X"/>
  <p:tag name="NAME" val="X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f0C6t4KTYaFG6OeSqt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bVDesT3Adm8RD0_bPWD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TF52Slk2EgA.x.bEETA"/>
  <p:tag name="SHAPENAME" val="2. Slide 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Njkj9p_DyuC6OEkKx4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00C64DB9-B4DC-496F-9AB5-5DAD18BDE97C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242</TotalTime>
  <Words>834</Words>
  <Application>Microsoft Macintosh PowerPoint</Application>
  <PresentationFormat>Breedbeeld</PresentationFormat>
  <Paragraphs>279</Paragraphs>
  <Slides>16</Slides>
  <Notes>10</Notes>
  <HiddenSlides>3</HiddenSlides>
  <MMClips>2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5" baseType="lpstr">
      <vt:lpstr>Segoe UI</vt:lpstr>
      <vt:lpstr>Arial</vt:lpstr>
      <vt:lpstr>Cambria Math</vt:lpstr>
      <vt:lpstr>Euphemia</vt:lpstr>
      <vt:lpstr>Georgia</vt:lpstr>
      <vt:lpstr>Wingdings</vt:lpstr>
      <vt:lpstr>White</vt:lpstr>
      <vt:lpstr>Contrast</vt:lpstr>
      <vt:lpstr>think-cell Slide</vt:lpstr>
      <vt:lpstr>Rushhour</vt:lpstr>
      <vt:lpstr>Statespace can be considered as all possible board states</vt:lpstr>
      <vt:lpstr>Setup</vt:lpstr>
      <vt:lpstr>PowerPoint-presentatie</vt:lpstr>
      <vt:lpstr>Visualization</vt:lpstr>
      <vt:lpstr>Due to the nature of the problem we choose Random and Iterative algorithms</vt:lpstr>
      <vt:lpstr>Our algorithms</vt:lpstr>
      <vt:lpstr>Random algorithm is able to give a valid solution for first 6 games</vt:lpstr>
      <vt:lpstr>Random advanced algorithm met heuristiek </vt:lpstr>
      <vt:lpstr>Breadth-first &amp; depth-first</vt:lpstr>
      <vt:lpstr>Board 6 x 6, game 1</vt:lpstr>
      <vt:lpstr>Not storing nodes saves memory but uses extra processing time</vt:lpstr>
      <vt:lpstr>Random algorithm test</vt:lpstr>
      <vt:lpstr>Comparison of the algorithms</vt:lpstr>
      <vt:lpstr>Comparison of the algorithms</vt:lpstr>
      <vt:lpstr>Project planning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irm Template</dc:title>
  <dc:subject/>
  <dc:creator>Bart Zeeuw van der Laan</dc:creator>
  <cp:keywords/>
  <dc:description/>
  <cp:lastModifiedBy>F. Berkhout</cp:lastModifiedBy>
  <cp:revision>164</cp:revision>
  <cp:lastPrinted>2018-10-30T20:37:12Z</cp:lastPrinted>
  <dcterms:created xsi:type="dcterms:W3CDTF">2020-01-08T13:33:45Z</dcterms:created>
  <dcterms:modified xsi:type="dcterms:W3CDTF">2020-01-28T11:31:3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19-11-01 10:40 AM</vt:lpwstr>
  </property>
  <property fmtid="{D5CDD505-2E9C-101B-9397-08002B2CF9AE}" pid="8" name="TemplateCreated">
    <vt:lpwstr>2019-02-27 01:18 PM</vt:lpwstr>
  </property>
</Properties>
</file>